
<file path=[Content_Types].xml><?xml version="1.0" encoding="utf-8"?>
<Types xmlns="http://schemas.openxmlformats.org/package/2006/content-types">
  <Default Extension="png" ContentType="image/png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diagrams/data14.xml" ContentType="application/vnd.openxmlformats-officedocument.drawingml.diagramData+xml"/>
  <Override PartName="/ppt/diagrams/layout14.xml" ContentType="application/vnd.openxmlformats-officedocument.drawingml.diagramLayout+xml"/>
  <Override PartName="/ppt/diagrams/quickStyle14.xml" ContentType="application/vnd.openxmlformats-officedocument.drawingml.diagramStyle+xml"/>
  <Override PartName="/ppt/diagrams/colors14.xml" ContentType="application/vnd.openxmlformats-officedocument.drawingml.diagramColors+xml"/>
  <Override PartName="/ppt/diagrams/drawing14.xml" ContentType="application/vnd.ms-office.drawingml.diagramDrawing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  <p:sldMasterId id="2147483708" r:id="rId2"/>
  </p:sldMasterIdLst>
  <p:notesMasterIdLst>
    <p:notesMasterId r:id="rId29"/>
  </p:notesMasterIdLst>
  <p:sldIdLst>
    <p:sldId id="307" r:id="rId3"/>
    <p:sldId id="308" r:id="rId4"/>
    <p:sldId id="258" r:id="rId5"/>
    <p:sldId id="342" r:id="rId6"/>
    <p:sldId id="343" r:id="rId7"/>
    <p:sldId id="344" r:id="rId8"/>
    <p:sldId id="345" r:id="rId9"/>
    <p:sldId id="335" r:id="rId10"/>
    <p:sldId id="336" r:id="rId11"/>
    <p:sldId id="346" r:id="rId12"/>
    <p:sldId id="347" r:id="rId13"/>
    <p:sldId id="348" r:id="rId14"/>
    <p:sldId id="349" r:id="rId15"/>
    <p:sldId id="350" r:id="rId16"/>
    <p:sldId id="351" r:id="rId17"/>
    <p:sldId id="352" r:id="rId18"/>
    <p:sldId id="353" r:id="rId19"/>
    <p:sldId id="354" r:id="rId20"/>
    <p:sldId id="355" r:id="rId21"/>
    <p:sldId id="356" r:id="rId22"/>
    <p:sldId id="357" r:id="rId23"/>
    <p:sldId id="358" r:id="rId24"/>
    <p:sldId id="359" r:id="rId25"/>
    <p:sldId id="362" r:id="rId26"/>
    <p:sldId id="363" r:id="rId27"/>
    <p:sldId id="332" r:id="rId28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B71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890" autoAdjust="0"/>
    <p:restoredTop sz="94660"/>
  </p:normalViewPr>
  <p:slideViewPr>
    <p:cSldViewPr>
      <p:cViewPr>
        <p:scale>
          <a:sx n="76" d="100"/>
          <a:sy n="76" d="100"/>
        </p:scale>
        <p:origin x="-1230" y="-7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1#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1#2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795C377-C582-4573-929C-0D097B749D96}" type="doc">
      <dgm:prSet loTypeId="urn:microsoft.com/office/officeart/2005/8/layout/hierarchy2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2E783706-CD94-4B00-B2BC-1DA889ED0926}">
      <dgm:prSet phldrT="[Text]" custT="1"/>
      <dgm:spPr>
        <a:solidFill>
          <a:schemeClr val="accent4"/>
        </a:solidFill>
      </dgm:spPr>
      <dgm:t>
        <a:bodyPr/>
        <a:lstStyle/>
        <a:p>
          <a:r>
            <a:rPr lang="en-US" sz="2800" b="1" dirty="0" smtClean="0">
              <a:latin typeface="Candara" pitchFamily="34" charset="0"/>
            </a:rPr>
            <a:t>Admin</a:t>
          </a:r>
          <a:endParaRPr lang="en-US" sz="2800" b="1" dirty="0">
            <a:latin typeface="Candara" pitchFamily="34" charset="0"/>
          </a:endParaRPr>
        </a:p>
      </dgm:t>
    </dgm:pt>
    <dgm:pt modelId="{8D00F3E0-5A08-4479-8942-7C77AB6DE34B}" type="parTrans" cxnId="{A0AFE5C6-5A1E-451D-BB14-C61FC6D57BC4}">
      <dgm:prSet/>
      <dgm:spPr/>
      <dgm:t>
        <a:bodyPr/>
        <a:lstStyle/>
        <a:p>
          <a:endParaRPr lang="en-US"/>
        </a:p>
      </dgm:t>
    </dgm:pt>
    <dgm:pt modelId="{15E465F3-DB37-477E-8F4C-F91EC98FE166}" type="sibTrans" cxnId="{A0AFE5C6-5A1E-451D-BB14-C61FC6D57BC4}">
      <dgm:prSet/>
      <dgm:spPr/>
      <dgm:t>
        <a:bodyPr/>
        <a:lstStyle/>
        <a:p>
          <a:endParaRPr lang="en-US"/>
        </a:p>
      </dgm:t>
    </dgm:pt>
    <dgm:pt modelId="{ED3306B0-C032-426A-88B7-19D2D5491097}">
      <dgm:prSet phldrT="[Text]" custT="1"/>
      <dgm:spPr>
        <a:solidFill>
          <a:schemeClr val="accent6"/>
        </a:solidFill>
      </dgm:spPr>
      <dgm:t>
        <a:bodyPr/>
        <a:lstStyle/>
        <a:p>
          <a:r>
            <a:rPr lang="en-US" sz="2800" b="1" dirty="0" smtClean="0">
              <a:latin typeface="Candara" pitchFamily="34" charset="0"/>
            </a:rPr>
            <a:t>Add</a:t>
          </a:r>
          <a:endParaRPr lang="en-US" sz="2800" b="1" dirty="0">
            <a:latin typeface="Candara" pitchFamily="34" charset="0"/>
          </a:endParaRPr>
        </a:p>
      </dgm:t>
    </dgm:pt>
    <dgm:pt modelId="{6DAA3037-7DE2-4C94-BDE8-7250B74C082B}" type="parTrans" cxnId="{8213E052-8954-4053-A789-18EFF10B0C1C}">
      <dgm:prSet/>
      <dgm:spPr/>
      <dgm:t>
        <a:bodyPr/>
        <a:lstStyle/>
        <a:p>
          <a:endParaRPr lang="en-US"/>
        </a:p>
      </dgm:t>
    </dgm:pt>
    <dgm:pt modelId="{D00903AE-A61D-4160-9AC8-6FB7BBF060D3}" type="sibTrans" cxnId="{8213E052-8954-4053-A789-18EFF10B0C1C}">
      <dgm:prSet/>
      <dgm:spPr/>
      <dgm:t>
        <a:bodyPr/>
        <a:lstStyle/>
        <a:p>
          <a:endParaRPr lang="en-US"/>
        </a:p>
      </dgm:t>
    </dgm:pt>
    <dgm:pt modelId="{D9B8D249-CCCA-4B06-AE28-DA750D94D771}">
      <dgm:prSet phldrT="[Text]" custT="1"/>
      <dgm:spPr>
        <a:solidFill>
          <a:schemeClr val="accent6"/>
        </a:solidFill>
      </dgm:spPr>
      <dgm:t>
        <a:bodyPr/>
        <a:lstStyle/>
        <a:p>
          <a:r>
            <a:rPr lang="en-US" sz="2800" b="1" smtClean="0">
              <a:latin typeface="Candara" pitchFamily="34" charset="0"/>
            </a:rPr>
            <a:t>Update</a:t>
          </a:r>
          <a:endParaRPr lang="en-US" sz="2800" b="1" dirty="0">
            <a:latin typeface="Candara" pitchFamily="34" charset="0"/>
          </a:endParaRPr>
        </a:p>
      </dgm:t>
    </dgm:pt>
    <dgm:pt modelId="{43304407-4007-42C1-84A5-13C6E4D4CDD7}" type="parTrans" cxnId="{4A97563F-6CB5-4603-BF8C-C390AD6E0BBB}">
      <dgm:prSet/>
      <dgm:spPr/>
      <dgm:t>
        <a:bodyPr/>
        <a:lstStyle/>
        <a:p>
          <a:endParaRPr lang="en-US"/>
        </a:p>
      </dgm:t>
    </dgm:pt>
    <dgm:pt modelId="{66991EFA-FF10-45A8-8EDA-2B4D1810B6B7}" type="sibTrans" cxnId="{4A97563F-6CB5-4603-BF8C-C390AD6E0BBB}">
      <dgm:prSet/>
      <dgm:spPr/>
      <dgm:t>
        <a:bodyPr/>
        <a:lstStyle/>
        <a:p>
          <a:endParaRPr lang="en-US"/>
        </a:p>
      </dgm:t>
    </dgm:pt>
    <dgm:pt modelId="{BCF4E12F-419F-4EFE-A74B-16E5400A393F}">
      <dgm:prSet phldrT="[Text]" custT="1"/>
      <dgm:spPr>
        <a:solidFill>
          <a:schemeClr val="accent6"/>
        </a:solidFill>
      </dgm:spPr>
      <dgm:t>
        <a:bodyPr/>
        <a:lstStyle/>
        <a:p>
          <a:r>
            <a:rPr lang="en-US" sz="2800" b="1" dirty="0" smtClean="0">
              <a:latin typeface="Candara" pitchFamily="34" charset="0"/>
            </a:rPr>
            <a:t>Delete</a:t>
          </a:r>
          <a:endParaRPr lang="en-US" sz="2800" b="1" dirty="0">
            <a:latin typeface="Candara" pitchFamily="34" charset="0"/>
          </a:endParaRPr>
        </a:p>
      </dgm:t>
    </dgm:pt>
    <dgm:pt modelId="{D119B881-BF74-4D7C-A216-FE52F5F53646}" type="parTrans" cxnId="{A682192A-4B72-4F66-8622-CBC9D25B9FB1}">
      <dgm:prSet/>
      <dgm:spPr/>
      <dgm:t>
        <a:bodyPr/>
        <a:lstStyle/>
        <a:p>
          <a:endParaRPr lang="en-US"/>
        </a:p>
      </dgm:t>
    </dgm:pt>
    <dgm:pt modelId="{094F115C-1253-4DEE-BBAA-88BD2E073322}" type="sibTrans" cxnId="{A682192A-4B72-4F66-8622-CBC9D25B9FB1}">
      <dgm:prSet/>
      <dgm:spPr/>
      <dgm:t>
        <a:bodyPr/>
        <a:lstStyle/>
        <a:p>
          <a:endParaRPr lang="en-US"/>
        </a:p>
      </dgm:t>
    </dgm:pt>
    <dgm:pt modelId="{FAA4CA8D-4A5A-42A1-84F2-AB02D6B22DF5}">
      <dgm:prSet/>
      <dgm:spPr>
        <a:solidFill>
          <a:schemeClr val="tx2">
            <a:lumMod val="20000"/>
            <a:lumOff val="80000"/>
          </a:schemeClr>
        </a:solidFill>
      </dgm:spPr>
      <dgm:t>
        <a:bodyPr/>
        <a:lstStyle/>
        <a:p>
          <a:endParaRPr lang="en-US" dirty="0"/>
        </a:p>
      </dgm:t>
    </dgm:pt>
    <dgm:pt modelId="{FE9D973D-CE7B-43A6-978E-BD1D40807882}" type="parTrans" cxnId="{C310D674-61C8-4ECE-A60C-21D252896A7D}">
      <dgm:prSet/>
      <dgm:spPr/>
      <dgm:t>
        <a:bodyPr/>
        <a:lstStyle/>
        <a:p>
          <a:endParaRPr lang="en-US"/>
        </a:p>
      </dgm:t>
    </dgm:pt>
    <dgm:pt modelId="{ED3BE8F0-4937-4A16-AC49-845390D44EDD}" type="sibTrans" cxnId="{C310D674-61C8-4ECE-A60C-21D252896A7D}">
      <dgm:prSet/>
      <dgm:spPr/>
      <dgm:t>
        <a:bodyPr/>
        <a:lstStyle/>
        <a:p>
          <a:endParaRPr lang="en-US"/>
        </a:p>
      </dgm:t>
    </dgm:pt>
    <dgm:pt modelId="{81FA49C8-5AFD-4FD8-AA75-6F0755C32012}">
      <dgm:prSet/>
      <dgm:spPr>
        <a:solidFill>
          <a:schemeClr val="tx2">
            <a:lumMod val="20000"/>
            <a:lumOff val="80000"/>
          </a:schemeClr>
        </a:solidFill>
      </dgm:spPr>
      <dgm:t>
        <a:bodyPr/>
        <a:lstStyle/>
        <a:p>
          <a:endParaRPr lang="en-US" dirty="0"/>
        </a:p>
      </dgm:t>
    </dgm:pt>
    <dgm:pt modelId="{288129F6-FC72-4318-861C-70998AB5B1C0}" type="parTrans" cxnId="{82C07A92-2D5A-4408-A84C-3007D1801622}">
      <dgm:prSet/>
      <dgm:spPr/>
      <dgm:t>
        <a:bodyPr/>
        <a:lstStyle/>
        <a:p>
          <a:endParaRPr lang="en-US"/>
        </a:p>
      </dgm:t>
    </dgm:pt>
    <dgm:pt modelId="{87AA7CD2-03BF-4E83-8797-E3F527B29D96}" type="sibTrans" cxnId="{82C07A92-2D5A-4408-A84C-3007D1801622}">
      <dgm:prSet/>
      <dgm:spPr/>
      <dgm:t>
        <a:bodyPr/>
        <a:lstStyle/>
        <a:p>
          <a:endParaRPr lang="en-US"/>
        </a:p>
      </dgm:t>
    </dgm:pt>
    <dgm:pt modelId="{25146658-9801-467B-AB30-AC59E02CD813}">
      <dgm:prSet/>
      <dgm:spPr>
        <a:solidFill>
          <a:schemeClr val="tx2">
            <a:lumMod val="20000"/>
            <a:lumOff val="80000"/>
          </a:schemeClr>
        </a:solidFill>
      </dgm:spPr>
      <dgm:t>
        <a:bodyPr/>
        <a:lstStyle/>
        <a:p>
          <a:endParaRPr lang="en-US" dirty="0"/>
        </a:p>
      </dgm:t>
    </dgm:pt>
    <dgm:pt modelId="{318013FD-4363-47D8-8789-0D694F003725}" type="sibTrans" cxnId="{75DD705C-142D-4BDE-AAA8-AAAE65BE5BE8}">
      <dgm:prSet/>
      <dgm:spPr/>
      <dgm:t>
        <a:bodyPr/>
        <a:lstStyle/>
        <a:p>
          <a:endParaRPr lang="en-US"/>
        </a:p>
      </dgm:t>
    </dgm:pt>
    <dgm:pt modelId="{55DD2788-2810-43C6-AF11-7E66F37F562A}" type="parTrans" cxnId="{75DD705C-142D-4BDE-AAA8-AAAE65BE5BE8}">
      <dgm:prSet/>
      <dgm:spPr/>
      <dgm:t>
        <a:bodyPr/>
        <a:lstStyle/>
        <a:p>
          <a:endParaRPr lang="en-US"/>
        </a:p>
      </dgm:t>
    </dgm:pt>
    <dgm:pt modelId="{9657566C-77A4-4430-8AB6-BAD3BB5B6B89}">
      <dgm:prSet/>
      <dgm:spPr>
        <a:solidFill>
          <a:schemeClr val="tx2">
            <a:lumMod val="20000"/>
            <a:lumOff val="80000"/>
          </a:schemeClr>
        </a:solidFill>
      </dgm:spPr>
      <dgm:t>
        <a:bodyPr/>
        <a:lstStyle/>
        <a:p>
          <a:endParaRPr lang="en-US" dirty="0"/>
        </a:p>
      </dgm:t>
    </dgm:pt>
    <dgm:pt modelId="{BCE84075-70E5-4101-98E9-4F5F48222354}" type="sibTrans" cxnId="{0FF59599-D1A4-4726-A973-6FF7CF7435F1}">
      <dgm:prSet/>
      <dgm:spPr/>
      <dgm:t>
        <a:bodyPr/>
        <a:lstStyle/>
        <a:p>
          <a:endParaRPr lang="en-US"/>
        </a:p>
      </dgm:t>
    </dgm:pt>
    <dgm:pt modelId="{8F4E7CB8-7D97-4D25-B915-406D5CF696BE}" type="parTrans" cxnId="{0FF59599-D1A4-4726-A973-6FF7CF7435F1}">
      <dgm:prSet/>
      <dgm:spPr/>
      <dgm:t>
        <a:bodyPr/>
        <a:lstStyle/>
        <a:p>
          <a:endParaRPr lang="en-US"/>
        </a:p>
      </dgm:t>
    </dgm:pt>
    <dgm:pt modelId="{F2D64647-E9A1-408A-8418-D6BA6EEB73F2}">
      <dgm:prSet/>
      <dgm:spPr>
        <a:solidFill>
          <a:schemeClr val="tx2">
            <a:lumMod val="20000"/>
            <a:lumOff val="80000"/>
          </a:schemeClr>
        </a:solidFill>
      </dgm:spPr>
      <dgm:t>
        <a:bodyPr/>
        <a:lstStyle/>
        <a:p>
          <a:endParaRPr lang="en-US" dirty="0"/>
        </a:p>
      </dgm:t>
    </dgm:pt>
    <dgm:pt modelId="{7808E560-9C65-4707-931A-B0C825772B39}" type="parTrans" cxnId="{6CAEB896-D05C-47F7-8ADB-8F3BBA46F1D6}">
      <dgm:prSet/>
      <dgm:spPr/>
      <dgm:t>
        <a:bodyPr/>
        <a:lstStyle/>
        <a:p>
          <a:endParaRPr lang="en-US"/>
        </a:p>
      </dgm:t>
    </dgm:pt>
    <dgm:pt modelId="{64C9C2DC-E01F-47C9-A2D5-D742BED95E2E}" type="sibTrans" cxnId="{6CAEB896-D05C-47F7-8ADB-8F3BBA46F1D6}">
      <dgm:prSet/>
      <dgm:spPr/>
      <dgm:t>
        <a:bodyPr/>
        <a:lstStyle/>
        <a:p>
          <a:endParaRPr lang="en-US"/>
        </a:p>
      </dgm:t>
    </dgm:pt>
    <dgm:pt modelId="{E317A1B1-9EDE-465F-BA87-2F0EC678D83A}" type="pres">
      <dgm:prSet presAssocID="{6795C377-C582-4573-929C-0D097B749D96}" presName="diagram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D3AE26FC-6A93-42F9-97B1-582EC282BCB5}" type="pres">
      <dgm:prSet presAssocID="{2E783706-CD94-4B00-B2BC-1DA889ED0926}" presName="root1" presStyleCnt="0"/>
      <dgm:spPr/>
    </dgm:pt>
    <dgm:pt modelId="{7424DD0C-4CF0-43BC-B084-693FCDF8F553}" type="pres">
      <dgm:prSet presAssocID="{2E783706-CD94-4B00-B2BC-1DA889ED0926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B52EBFD3-E7D2-48D6-B54E-87F4A653F7A2}" type="pres">
      <dgm:prSet presAssocID="{2E783706-CD94-4B00-B2BC-1DA889ED0926}" presName="level2hierChild" presStyleCnt="0"/>
      <dgm:spPr/>
    </dgm:pt>
    <dgm:pt modelId="{FD87950B-4E8F-4C74-BDD6-4E61F5B5C7D8}" type="pres">
      <dgm:prSet presAssocID="{6DAA3037-7DE2-4C94-BDE8-7250B74C082B}" presName="conn2-1" presStyleLbl="parChTrans1D2" presStyleIdx="0" presStyleCnt="3"/>
      <dgm:spPr/>
      <dgm:t>
        <a:bodyPr/>
        <a:lstStyle/>
        <a:p>
          <a:endParaRPr lang="en-US"/>
        </a:p>
      </dgm:t>
    </dgm:pt>
    <dgm:pt modelId="{79854BF5-7897-4642-B33B-B2FB68225875}" type="pres">
      <dgm:prSet presAssocID="{6DAA3037-7DE2-4C94-BDE8-7250B74C082B}" presName="connTx" presStyleLbl="parChTrans1D2" presStyleIdx="0" presStyleCnt="3"/>
      <dgm:spPr/>
      <dgm:t>
        <a:bodyPr/>
        <a:lstStyle/>
        <a:p>
          <a:endParaRPr lang="en-US"/>
        </a:p>
      </dgm:t>
    </dgm:pt>
    <dgm:pt modelId="{111522DB-32D2-40A5-BBE1-CDA25F591FD2}" type="pres">
      <dgm:prSet presAssocID="{ED3306B0-C032-426A-88B7-19D2D5491097}" presName="root2" presStyleCnt="0"/>
      <dgm:spPr/>
    </dgm:pt>
    <dgm:pt modelId="{7F54B4CC-114B-48C7-B079-06621F228BC3}" type="pres">
      <dgm:prSet presAssocID="{ED3306B0-C032-426A-88B7-19D2D5491097}" presName="LevelTwoTextNode" presStyleLbl="node2" presStyleIdx="0" presStyleCnt="3" custLinFactNeighborX="1472" custLinFactNeighborY="-9939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100E23C1-AC7C-4CDC-B229-5F328B574B05}" type="pres">
      <dgm:prSet presAssocID="{ED3306B0-C032-426A-88B7-19D2D5491097}" presName="level3hierChild" presStyleCnt="0"/>
      <dgm:spPr/>
    </dgm:pt>
    <dgm:pt modelId="{64695E6B-5FF3-43F8-93E3-AD0B55F654C8}" type="pres">
      <dgm:prSet presAssocID="{8F4E7CB8-7D97-4D25-B915-406D5CF696BE}" presName="conn2-1" presStyleLbl="parChTrans1D3" presStyleIdx="0" presStyleCnt="5"/>
      <dgm:spPr/>
      <dgm:t>
        <a:bodyPr/>
        <a:lstStyle/>
        <a:p>
          <a:endParaRPr lang="en-US"/>
        </a:p>
      </dgm:t>
    </dgm:pt>
    <dgm:pt modelId="{D701EB16-B87B-44C3-BB10-152D6089387C}" type="pres">
      <dgm:prSet presAssocID="{8F4E7CB8-7D97-4D25-B915-406D5CF696BE}" presName="connTx" presStyleLbl="parChTrans1D3" presStyleIdx="0" presStyleCnt="5"/>
      <dgm:spPr/>
      <dgm:t>
        <a:bodyPr/>
        <a:lstStyle/>
        <a:p>
          <a:endParaRPr lang="en-US"/>
        </a:p>
      </dgm:t>
    </dgm:pt>
    <dgm:pt modelId="{32CEBADC-E871-4113-BDCD-AAE6D1209107}" type="pres">
      <dgm:prSet presAssocID="{9657566C-77A4-4430-8AB6-BAD3BB5B6B89}" presName="root2" presStyleCnt="0"/>
      <dgm:spPr/>
    </dgm:pt>
    <dgm:pt modelId="{0E70CBDB-9D50-43FF-BC64-8691A0DD4EE1}" type="pres">
      <dgm:prSet presAssocID="{9657566C-77A4-4430-8AB6-BAD3BB5B6B89}" presName="LevelTwoTextNode" presStyleLbl="node3" presStyleIdx="0" presStyleCnt="5" custScaleX="180159" custLinFactNeighborX="-972" custLinFactNeighborY="-814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8A2EFE53-4757-4384-AD3C-DDB27696C89F}" type="pres">
      <dgm:prSet presAssocID="{9657566C-77A4-4430-8AB6-BAD3BB5B6B89}" presName="level3hierChild" presStyleCnt="0"/>
      <dgm:spPr/>
    </dgm:pt>
    <dgm:pt modelId="{AC82F56E-5807-4071-A513-7343A085905E}" type="pres">
      <dgm:prSet presAssocID="{7808E560-9C65-4707-931A-B0C825772B39}" presName="conn2-1" presStyleLbl="parChTrans1D3" presStyleIdx="1" presStyleCnt="5"/>
      <dgm:spPr/>
      <dgm:t>
        <a:bodyPr/>
        <a:lstStyle/>
        <a:p>
          <a:endParaRPr lang="en-US"/>
        </a:p>
      </dgm:t>
    </dgm:pt>
    <dgm:pt modelId="{BFB8D196-A284-4D4C-8D59-971FA541C30B}" type="pres">
      <dgm:prSet presAssocID="{7808E560-9C65-4707-931A-B0C825772B39}" presName="connTx" presStyleLbl="parChTrans1D3" presStyleIdx="1" presStyleCnt="5"/>
      <dgm:spPr/>
      <dgm:t>
        <a:bodyPr/>
        <a:lstStyle/>
        <a:p>
          <a:endParaRPr lang="en-US"/>
        </a:p>
      </dgm:t>
    </dgm:pt>
    <dgm:pt modelId="{EEBEF632-052D-4ACA-999C-7D7ED39EC2A3}" type="pres">
      <dgm:prSet presAssocID="{F2D64647-E9A1-408A-8418-D6BA6EEB73F2}" presName="root2" presStyleCnt="0"/>
      <dgm:spPr/>
    </dgm:pt>
    <dgm:pt modelId="{7FC77114-16CF-4451-9B00-156846E6D638}" type="pres">
      <dgm:prSet presAssocID="{F2D64647-E9A1-408A-8418-D6BA6EEB73F2}" presName="LevelTwoTextNode" presStyleLbl="node3" presStyleIdx="1" presStyleCnt="5" custScaleX="183984" custLinFactNeighborX="5580" custLinFactNeighborY="6221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97DD8EBE-EB1F-4A74-8D77-61D657BD1CE4}" type="pres">
      <dgm:prSet presAssocID="{F2D64647-E9A1-408A-8418-D6BA6EEB73F2}" presName="level3hierChild" presStyleCnt="0"/>
      <dgm:spPr/>
    </dgm:pt>
    <dgm:pt modelId="{6A3CF635-21F9-41DB-89F7-334E54D1122C}" type="pres">
      <dgm:prSet presAssocID="{55DD2788-2810-43C6-AF11-7E66F37F562A}" presName="conn2-1" presStyleLbl="parChTrans1D3" presStyleIdx="2" presStyleCnt="5"/>
      <dgm:spPr/>
      <dgm:t>
        <a:bodyPr/>
        <a:lstStyle/>
        <a:p>
          <a:endParaRPr lang="en-US"/>
        </a:p>
      </dgm:t>
    </dgm:pt>
    <dgm:pt modelId="{17023228-68EC-497F-96D0-54BE052DBC94}" type="pres">
      <dgm:prSet presAssocID="{55DD2788-2810-43C6-AF11-7E66F37F562A}" presName="connTx" presStyleLbl="parChTrans1D3" presStyleIdx="2" presStyleCnt="5"/>
      <dgm:spPr/>
      <dgm:t>
        <a:bodyPr/>
        <a:lstStyle/>
        <a:p>
          <a:endParaRPr lang="en-US"/>
        </a:p>
      </dgm:t>
    </dgm:pt>
    <dgm:pt modelId="{062F4C10-C528-4571-9A52-0028965403F4}" type="pres">
      <dgm:prSet presAssocID="{25146658-9801-467B-AB30-AC59E02CD813}" presName="root2" presStyleCnt="0"/>
      <dgm:spPr/>
    </dgm:pt>
    <dgm:pt modelId="{BAA03515-FF7D-49BC-9865-D8A9FAE629BB}" type="pres">
      <dgm:prSet presAssocID="{25146658-9801-467B-AB30-AC59E02CD813}" presName="LevelTwoTextNode" presStyleLbl="node3" presStyleIdx="2" presStyleCnt="5" custScaleX="194709" custLinFactNeighborX="-30" custLinFactNeighborY="289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F2CD44AC-E4C5-4D9D-B239-11720200ACB2}" type="pres">
      <dgm:prSet presAssocID="{25146658-9801-467B-AB30-AC59E02CD813}" presName="level3hierChild" presStyleCnt="0"/>
      <dgm:spPr/>
    </dgm:pt>
    <dgm:pt modelId="{20E08445-CEA1-4B13-B0A1-55ECF1453D26}" type="pres">
      <dgm:prSet presAssocID="{43304407-4007-42C1-84A5-13C6E4D4CDD7}" presName="conn2-1" presStyleLbl="parChTrans1D2" presStyleIdx="1" presStyleCnt="3"/>
      <dgm:spPr/>
      <dgm:t>
        <a:bodyPr/>
        <a:lstStyle/>
        <a:p>
          <a:endParaRPr lang="en-US"/>
        </a:p>
      </dgm:t>
    </dgm:pt>
    <dgm:pt modelId="{5DB63111-F642-4551-809E-123A8241E5A1}" type="pres">
      <dgm:prSet presAssocID="{43304407-4007-42C1-84A5-13C6E4D4CDD7}" presName="connTx" presStyleLbl="parChTrans1D2" presStyleIdx="1" presStyleCnt="3"/>
      <dgm:spPr/>
      <dgm:t>
        <a:bodyPr/>
        <a:lstStyle/>
        <a:p>
          <a:endParaRPr lang="en-US"/>
        </a:p>
      </dgm:t>
    </dgm:pt>
    <dgm:pt modelId="{AFF02C6E-E5BE-4617-9986-0D0F22CBBE57}" type="pres">
      <dgm:prSet presAssocID="{D9B8D249-CCCA-4B06-AE28-DA750D94D771}" presName="root2" presStyleCnt="0"/>
      <dgm:spPr/>
    </dgm:pt>
    <dgm:pt modelId="{07475B80-5E8B-48F3-8957-8808AB0FCA62}" type="pres">
      <dgm:prSet presAssocID="{D9B8D249-CCCA-4B06-AE28-DA750D94D771}" presName="LevelTwoTextNode" presStyleLbl="node2" presStyleIdx="1" presStyleCnt="3" custLinFactNeighborX="2944" custLinFactNeighborY="-3561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3F0F4180-5026-4CFC-BA72-6319CD51D403}" type="pres">
      <dgm:prSet presAssocID="{D9B8D249-CCCA-4B06-AE28-DA750D94D771}" presName="level3hierChild" presStyleCnt="0"/>
      <dgm:spPr/>
    </dgm:pt>
    <dgm:pt modelId="{A639F305-37F7-4B70-9908-5F6F0D858380}" type="pres">
      <dgm:prSet presAssocID="{FE9D973D-CE7B-43A6-978E-BD1D40807882}" presName="conn2-1" presStyleLbl="parChTrans1D3" presStyleIdx="3" presStyleCnt="5"/>
      <dgm:spPr/>
      <dgm:t>
        <a:bodyPr/>
        <a:lstStyle/>
        <a:p>
          <a:endParaRPr lang="en-US"/>
        </a:p>
      </dgm:t>
    </dgm:pt>
    <dgm:pt modelId="{5D6B9451-B904-42BA-92D4-1CE79ABAC984}" type="pres">
      <dgm:prSet presAssocID="{FE9D973D-CE7B-43A6-978E-BD1D40807882}" presName="connTx" presStyleLbl="parChTrans1D3" presStyleIdx="3" presStyleCnt="5"/>
      <dgm:spPr/>
      <dgm:t>
        <a:bodyPr/>
        <a:lstStyle/>
        <a:p>
          <a:endParaRPr lang="en-US"/>
        </a:p>
      </dgm:t>
    </dgm:pt>
    <dgm:pt modelId="{7E3D09D6-D237-4FD0-844E-7007509939BF}" type="pres">
      <dgm:prSet presAssocID="{FAA4CA8D-4A5A-42A1-84F2-AB02D6B22DF5}" presName="root2" presStyleCnt="0"/>
      <dgm:spPr/>
    </dgm:pt>
    <dgm:pt modelId="{C7A2A90B-5EF3-4246-B9EF-8F34C4121B75}" type="pres">
      <dgm:prSet presAssocID="{FAA4CA8D-4A5A-42A1-84F2-AB02D6B22DF5}" presName="LevelTwoTextNode" presStyleLbl="node3" presStyleIdx="3" presStyleCnt="5" custLinFactNeighborX="54509" custLinFactNeighborY="1782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F889710A-9591-4154-87BD-458765D41159}" type="pres">
      <dgm:prSet presAssocID="{FAA4CA8D-4A5A-42A1-84F2-AB02D6B22DF5}" presName="level3hierChild" presStyleCnt="0"/>
      <dgm:spPr/>
    </dgm:pt>
    <dgm:pt modelId="{272A0943-0322-47DF-966B-D649E405F93C}" type="pres">
      <dgm:prSet presAssocID="{D119B881-BF74-4D7C-A216-FE52F5F53646}" presName="conn2-1" presStyleLbl="parChTrans1D2" presStyleIdx="2" presStyleCnt="3"/>
      <dgm:spPr/>
      <dgm:t>
        <a:bodyPr/>
        <a:lstStyle/>
        <a:p>
          <a:endParaRPr lang="en-US"/>
        </a:p>
      </dgm:t>
    </dgm:pt>
    <dgm:pt modelId="{6CD66AA5-6B1B-45F7-B78A-2CF1C2FB55B6}" type="pres">
      <dgm:prSet presAssocID="{D119B881-BF74-4D7C-A216-FE52F5F53646}" presName="connTx" presStyleLbl="parChTrans1D2" presStyleIdx="2" presStyleCnt="3"/>
      <dgm:spPr/>
      <dgm:t>
        <a:bodyPr/>
        <a:lstStyle/>
        <a:p>
          <a:endParaRPr lang="en-US"/>
        </a:p>
      </dgm:t>
    </dgm:pt>
    <dgm:pt modelId="{EC606D58-D7DE-4B04-9366-BD1F7995D3F4}" type="pres">
      <dgm:prSet presAssocID="{BCF4E12F-419F-4EFE-A74B-16E5400A393F}" presName="root2" presStyleCnt="0"/>
      <dgm:spPr/>
    </dgm:pt>
    <dgm:pt modelId="{CFC22410-DAE8-4192-B271-6971B6DEF6F5}" type="pres">
      <dgm:prSet presAssocID="{BCF4E12F-419F-4EFE-A74B-16E5400A393F}" presName="LevelTwoTextNode" presStyleLbl="node2" presStyleIdx="2" presStyleCnt="3" custLinFactNeighborX="1528" custLinFactNeighborY="-15235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6D309EA3-577B-44D5-9408-44EE5DE05965}" type="pres">
      <dgm:prSet presAssocID="{BCF4E12F-419F-4EFE-A74B-16E5400A393F}" presName="level3hierChild" presStyleCnt="0"/>
      <dgm:spPr/>
    </dgm:pt>
    <dgm:pt modelId="{090DA268-5E02-4278-AC6D-CE8440B87EF1}" type="pres">
      <dgm:prSet presAssocID="{288129F6-FC72-4318-861C-70998AB5B1C0}" presName="conn2-1" presStyleLbl="parChTrans1D3" presStyleIdx="4" presStyleCnt="5"/>
      <dgm:spPr/>
      <dgm:t>
        <a:bodyPr/>
        <a:lstStyle/>
        <a:p>
          <a:endParaRPr lang="en-US"/>
        </a:p>
      </dgm:t>
    </dgm:pt>
    <dgm:pt modelId="{7710E5B5-EE75-42F5-9C2A-C033041C46B6}" type="pres">
      <dgm:prSet presAssocID="{288129F6-FC72-4318-861C-70998AB5B1C0}" presName="connTx" presStyleLbl="parChTrans1D3" presStyleIdx="4" presStyleCnt="5"/>
      <dgm:spPr/>
      <dgm:t>
        <a:bodyPr/>
        <a:lstStyle/>
        <a:p>
          <a:endParaRPr lang="en-US"/>
        </a:p>
      </dgm:t>
    </dgm:pt>
    <dgm:pt modelId="{CB362435-5FDA-4F16-87CD-3573DFB39CE1}" type="pres">
      <dgm:prSet presAssocID="{81FA49C8-5AFD-4FD8-AA75-6F0755C32012}" presName="root2" presStyleCnt="0"/>
      <dgm:spPr/>
    </dgm:pt>
    <dgm:pt modelId="{C757D30D-E0C4-4BDA-8118-DDF238262DEC}" type="pres">
      <dgm:prSet presAssocID="{81FA49C8-5AFD-4FD8-AA75-6F0755C32012}" presName="LevelTwoTextNode" presStyleLbl="node3" presStyleIdx="4" presStyleCnt="5" custLinFactNeighborX="55927" custLinFactNeighborY="66208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B343B44B-D67E-4AC9-9C9A-AD4EA9258C48}" type="pres">
      <dgm:prSet presAssocID="{81FA49C8-5AFD-4FD8-AA75-6F0755C32012}" presName="level3hierChild" presStyleCnt="0"/>
      <dgm:spPr/>
    </dgm:pt>
  </dgm:ptLst>
  <dgm:cxnLst>
    <dgm:cxn modelId="{16CB2694-29CB-4484-AE12-CB3DF8D9D0E3}" type="presOf" srcId="{43304407-4007-42C1-84A5-13C6E4D4CDD7}" destId="{5DB63111-F642-4551-809E-123A8241E5A1}" srcOrd="1" destOrd="0" presId="urn:microsoft.com/office/officeart/2005/8/layout/hierarchy2"/>
    <dgm:cxn modelId="{82C07A92-2D5A-4408-A84C-3007D1801622}" srcId="{BCF4E12F-419F-4EFE-A74B-16E5400A393F}" destId="{81FA49C8-5AFD-4FD8-AA75-6F0755C32012}" srcOrd="0" destOrd="0" parTransId="{288129F6-FC72-4318-861C-70998AB5B1C0}" sibTransId="{87AA7CD2-03BF-4E83-8797-E3F527B29D96}"/>
    <dgm:cxn modelId="{1BE7BD32-15CA-4B1F-823F-62E84FF2C03D}" type="presOf" srcId="{6795C377-C582-4573-929C-0D097B749D96}" destId="{E317A1B1-9EDE-465F-BA87-2F0EC678D83A}" srcOrd="0" destOrd="0" presId="urn:microsoft.com/office/officeart/2005/8/layout/hierarchy2"/>
    <dgm:cxn modelId="{C310D674-61C8-4ECE-A60C-21D252896A7D}" srcId="{D9B8D249-CCCA-4B06-AE28-DA750D94D771}" destId="{FAA4CA8D-4A5A-42A1-84F2-AB02D6B22DF5}" srcOrd="0" destOrd="0" parTransId="{FE9D973D-CE7B-43A6-978E-BD1D40807882}" sibTransId="{ED3BE8F0-4937-4A16-AC49-845390D44EDD}"/>
    <dgm:cxn modelId="{A1C53090-9955-4761-A4D8-0D390F59887C}" type="presOf" srcId="{55DD2788-2810-43C6-AF11-7E66F37F562A}" destId="{6A3CF635-21F9-41DB-89F7-334E54D1122C}" srcOrd="0" destOrd="0" presId="urn:microsoft.com/office/officeart/2005/8/layout/hierarchy2"/>
    <dgm:cxn modelId="{0FF59599-D1A4-4726-A973-6FF7CF7435F1}" srcId="{ED3306B0-C032-426A-88B7-19D2D5491097}" destId="{9657566C-77A4-4430-8AB6-BAD3BB5B6B89}" srcOrd="0" destOrd="0" parTransId="{8F4E7CB8-7D97-4D25-B915-406D5CF696BE}" sibTransId="{BCE84075-70E5-4101-98E9-4F5F48222354}"/>
    <dgm:cxn modelId="{95392330-2464-4CD7-BE91-380B512E8D17}" type="presOf" srcId="{7808E560-9C65-4707-931A-B0C825772B39}" destId="{BFB8D196-A284-4D4C-8D59-971FA541C30B}" srcOrd="1" destOrd="0" presId="urn:microsoft.com/office/officeart/2005/8/layout/hierarchy2"/>
    <dgm:cxn modelId="{4A97563F-6CB5-4603-BF8C-C390AD6E0BBB}" srcId="{2E783706-CD94-4B00-B2BC-1DA889ED0926}" destId="{D9B8D249-CCCA-4B06-AE28-DA750D94D771}" srcOrd="1" destOrd="0" parTransId="{43304407-4007-42C1-84A5-13C6E4D4CDD7}" sibTransId="{66991EFA-FF10-45A8-8EDA-2B4D1810B6B7}"/>
    <dgm:cxn modelId="{319FA99A-8C02-498E-8024-7CF25D8275A8}" type="presOf" srcId="{8F4E7CB8-7D97-4D25-B915-406D5CF696BE}" destId="{D701EB16-B87B-44C3-BB10-152D6089387C}" srcOrd="1" destOrd="0" presId="urn:microsoft.com/office/officeart/2005/8/layout/hierarchy2"/>
    <dgm:cxn modelId="{DEDA7EA3-5C8D-4914-A7D9-44BEDF2EA5FD}" type="presOf" srcId="{ED3306B0-C032-426A-88B7-19D2D5491097}" destId="{7F54B4CC-114B-48C7-B079-06621F228BC3}" srcOrd="0" destOrd="0" presId="urn:microsoft.com/office/officeart/2005/8/layout/hierarchy2"/>
    <dgm:cxn modelId="{338D1B10-97B9-43FA-9548-0AF7902A232E}" type="presOf" srcId="{25146658-9801-467B-AB30-AC59E02CD813}" destId="{BAA03515-FF7D-49BC-9865-D8A9FAE629BB}" srcOrd="0" destOrd="0" presId="urn:microsoft.com/office/officeart/2005/8/layout/hierarchy2"/>
    <dgm:cxn modelId="{A5D6599D-4574-4AD1-ACB2-7463327467E3}" type="presOf" srcId="{55DD2788-2810-43C6-AF11-7E66F37F562A}" destId="{17023228-68EC-497F-96D0-54BE052DBC94}" srcOrd="1" destOrd="0" presId="urn:microsoft.com/office/officeart/2005/8/layout/hierarchy2"/>
    <dgm:cxn modelId="{481838DA-F15B-4BB5-82A6-A64687D58E16}" type="presOf" srcId="{288129F6-FC72-4318-861C-70998AB5B1C0}" destId="{7710E5B5-EE75-42F5-9C2A-C033041C46B6}" srcOrd="1" destOrd="0" presId="urn:microsoft.com/office/officeart/2005/8/layout/hierarchy2"/>
    <dgm:cxn modelId="{75DD705C-142D-4BDE-AAA8-AAAE65BE5BE8}" srcId="{ED3306B0-C032-426A-88B7-19D2D5491097}" destId="{25146658-9801-467B-AB30-AC59E02CD813}" srcOrd="2" destOrd="0" parTransId="{55DD2788-2810-43C6-AF11-7E66F37F562A}" sibTransId="{318013FD-4363-47D8-8789-0D694F003725}"/>
    <dgm:cxn modelId="{45BEF59C-CA9D-4631-9F88-45CC0D2C9FB5}" type="presOf" srcId="{81FA49C8-5AFD-4FD8-AA75-6F0755C32012}" destId="{C757D30D-E0C4-4BDA-8118-DDF238262DEC}" srcOrd="0" destOrd="0" presId="urn:microsoft.com/office/officeart/2005/8/layout/hierarchy2"/>
    <dgm:cxn modelId="{37B19297-9BCF-4721-A809-6E32CE8002DE}" type="presOf" srcId="{288129F6-FC72-4318-861C-70998AB5B1C0}" destId="{090DA268-5E02-4278-AC6D-CE8440B87EF1}" srcOrd="0" destOrd="0" presId="urn:microsoft.com/office/officeart/2005/8/layout/hierarchy2"/>
    <dgm:cxn modelId="{C7C65994-827B-42EA-AEBE-F25BE38E4E50}" type="presOf" srcId="{D9B8D249-CCCA-4B06-AE28-DA750D94D771}" destId="{07475B80-5E8B-48F3-8957-8808AB0FCA62}" srcOrd="0" destOrd="0" presId="urn:microsoft.com/office/officeart/2005/8/layout/hierarchy2"/>
    <dgm:cxn modelId="{FF294109-DC88-4D01-85D1-77825B674F57}" type="presOf" srcId="{FAA4CA8D-4A5A-42A1-84F2-AB02D6B22DF5}" destId="{C7A2A90B-5EF3-4246-B9EF-8F34C4121B75}" srcOrd="0" destOrd="0" presId="urn:microsoft.com/office/officeart/2005/8/layout/hierarchy2"/>
    <dgm:cxn modelId="{8213E052-8954-4053-A789-18EFF10B0C1C}" srcId="{2E783706-CD94-4B00-B2BC-1DA889ED0926}" destId="{ED3306B0-C032-426A-88B7-19D2D5491097}" srcOrd="0" destOrd="0" parTransId="{6DAA3037-7DE2-4C94-BDE8-7250B74C082B}" sibTransId="{D00903AE-A61D-4160-9AC8-6FB7BBF060D3}"/>
    <dgm:cxn modelId="{679638EA-ACE5-45F2-AC39-29DD777C6A02}" type="presOf" srcId="{F2D64647-E9A1-408A-8418-D6BA6EEB73F2}" destId="{7FC77114-16CF-4451-9B00-156846E6D638}" srcOrd="0" destOrd="0" presId="urn:microsoft.com/office/officeart/2005/8/layout/hierarchy2"/>
    <dgm:cxn modelId="{FCF97BA4-5A09-4B27-851B-0FE7673F9265}" type="presOf" srcId="{9657566C-77A4-4430-8AB6-BAD3BB5B6B89}" destId="{0E70CBDB-9D50-43FF-BC64-8691A0DD4EE1}" srcOrd="0" destOrd="0" presId="urn:microsoft.com/office/officeart/2005/8/layout/hierarchy2"/>
    <dgm:cxn modelId="{097AC1C0-F0ED-4B96-8EFE-3524A065CF21}" type="presOf" srcId="{7808E560-9C65-4707-931A-B0C825772B39}" destId="{AC82F56E-5807-4071-A513-7343A085905E}" srcOrd="0" destOrd="0" presId="urn:microsoft.com/office/officeart/2005/8/layout/hierarchy2"/>
    <dgm:cxn modelId="{A0AFE5C6-5A1E-451D-BB14-C61FC6D57BC4}" srcId="{6795C377-C582-4573-929C-0D097B749D96}" destId="{2E783706-CD94-4B00-B2BC-1DA889ED0926}" srcOrd="0" destOrd="0" parTransId="{8D00F3E0-5A08-4479-8942-7C77AB6DE34B}" sibTransId="{15E465F3-DB37-477E-8F4C-F91EC98FE166}"/>
    <dgm:cxn modelId="{6CAEB896-D05C-47F7-8ADB-8F3BBA46F1D6}" srcId="{ED3306B0-C032-426A-88B7-19D2D5491097}" destId="{F2D64647-E9A1-408A-8418-D6BA6EEB73F2}" srcOrd="1" destOrd="0" parTransId="{7808E560-9C65-4707-931A-B0C825772B39}" sibTransId="{64C9C2DC-E01F-47C9-A2D5-D742BED95E2E}"/>
    <dgm:cxn modelId="{E1CF703C-E414-4054-A1B3-D26FA2A4851C}" type="presOf" srcId="{FE9D973D-CE7B-43A6-978E-BD1D40807882}" destId="{5D6B9451-B904-42BA-92D4-1CE79ABAC984}" srcOrd="1" destOrd="0" presId="urn:microsoft.com/office/officeart/2005/8/layout/hierarchy2"/>
    <dgm:cxn modelId="{A682192A-4B72-4F66-8622-CBC9D25B9FB1}" srcId="{2E783706-CD94-4B00-B2BC-1DA889ED0926}" destId="{BCF4E12F-419F-4EFE-A74B-16E5400A393F}" srcOrd="2" destOrd="0" parTransId="{D119B881-BF74-4D7C-A216-FE52F5F53646}" sibTransId="{094F115C-1253-4DEE-BBAA-88BD2E073322}"/>
    <dgm:cxn modelId="{0AEAA71D-75F1-4E67-A142-1FDEB99EE4BA}" type="presOf" srcId="{8F4E7CB8-7D97-4D25-B915-406D5CF696BE}" destId="{64695E6B-5FF3-43F8-93E3-AD0B55F654C8}" srcOrd="0" destOrd="0" presId="urn:microsoft.com/office/officeart/2005/8/layout/hierarchy2"/>
    <dgm:cxn modelId="{F6A2DB5B-6040-47D8-94CE-592793662726}" type="presOf" srcId="{D119B881-BF74-4D7C-A216-FE52F5F53646}" destId="{6CD66AA5-6B1B-45F7-B78A-2CF1C2FB55B6}" srcOrd="1" destOrd="0" presId="urn:microsoft.com/office/officeart/2005/8/layout/hierarchy2"/>
    <dgm:cxn modelId="{E85EEDAE-70FC-401D-8D77-9E6C1A6E5147}" type="presOf" srcId="{2E783706-CD94-4B00-B2BC-1DA889ED0926}" destId="{7424DD0C-4CF0-43BC-B084-693FCDF8F553}" srcOrd="0" destOrd="0" presId="urn:microsoft.com/office/officeart/2005/8/layout/hierarchy2"/>
    <dgm:cxn modelId="{54B18ADC-7A9B-4A7F-A76A-CEBDDF3D21C6}" type="presOf" srcId="{D119B881-BF74-4D7C-A216-FE52F5F53646}" destId="{272A0943-0322-47DF-966B-D649E405F93C}" srcOrd="0" destOrd="0" presId="urn:microsoft.com/office/officeart/2005/8/layout/hierarchy2"/>
    <dgm:cxn modelId="{F2C34459-D024-47DC-8C65-96603EDCCE94}" type="presOf" srcId="{BCF4E12F-419F-4EFE-A74B-16E5400A393F}" destId="{CFC22410-DAE8-4192-B271-6971B6DEF6F5}" srcOrd="0" destOrd="0" presId="urn:microsoft.com/office/officeart/2005/8/layout/hierarchy2"/>
    <dgm:cxn modelId="{DB6ECFDF-33BD-474A-8EFB-00C6FE6D6CFA}" type="presOf" srcId="{43304407-4007-42C1-84A5-13C6E4D4CDD7}" destId="{20E08445-CEA1-4B13-B0A1-55ECF1453D26}" srcOrd="0" destOrd="0" presId="urn:microsoft.com/office/officeart/2005/8/layout/hierarchy2"/>
    <dgm:cxn modelId="{24CC9D92-FDBA-4C8B-A062-B7DAD79CA330}" type="presOf" srcId="{6DAA3037-7DE2-4C94-BDE8-7250B74C082B}" destId="{FD87950B-4E8F-4C74-BDD6-4E61F5B5C7D8}" srcOrd="0" destOrd="0" presId="urn:microsoft.com/office/officeart/2005/8/layout/hierarchy2"/>
    <dgm:cxn modelId="{5E2011DC-BD9B-4A5B-AC68-69AE144ED541}" type="presOf" srcId="{FE9D973D-CE7B-43A6-978E-BD1D40807882}" destId="{A639F305-37F7-4B70-9908-5F6F0D858380}" srcOrd="0" destOrd="0" presId="urn:microsoft.com/office/officeart/2005/8/layout/hierarchy2"/>
    <dgm:cxn modelId="{21641C57-F123-4501-8314-F457CA076990}" type="presOf" srcId="{6DAA3037-7DE2-4C94-BDE8-7250B74C082B}" destId="{79854BF5-7897-4642-B33B-B2FB68225875}" srcOrd="1" destOrd="0" presId="urn:microsoft.com/office/officeart/2005/8/layout/hierarchy2"/>
    <dgm:cxn modelId="{63EB613C-DC07-42F1-B089-C9852077108A}" type="presParOf" srcId="{E317A1B1-9EDE-465F-BA87-2F0EC678D83A}" destId="{D3AE26FC-6A93-42F9-97B1-582EC282BCB5}" srcOrd="0" destOrd="0" presId="urn:microsoft.com/office/officeart/2005/8/layout/hierarchy2"/>
    <dgm:cxn modelId="{89F418A4-9CF8-4F79-8A4C-648BE647D1CD}" type="presParOf" srcId="{D3AE26FC-6A93-42F9-97B1-582EC282BCB5}" destId="{7424DD0C-4CF0-43BC-B084-693FCDF8F553}" srcOrd="0" destOrd="0" presId="urn:microsoft.com/office/officeart/2005/8/layout/hierarchy2"/>
    <dgm:cxn modelId="{2E1B6FEA-5D0E-4E6F-91D9-DAB9DEB39B21}" type="presParOf" srcId="{D3AE26FC-6A93-42F9-97B1-582EC282BCB5}" destId="{B52EBFD3-E7D2-48D6-B54E-87F4A653F7A2}" srcOrd="1" destOrd="0" presId="urn:microsoft.com/office/officeart/2005/8/layout/hierarchy2"/>
    <dgm:cxn modelId="{FD90871C-5FB3-4DF5-9372-B9E1B43750B6}" type="presParOf" srcId="{B52EBFD3-E7D2-48D6-B54E-87F4A653F7A2}" destId="{FD87950B-4E8F-4C74-BDD6-4E61F5B5C7D8}" srcOrd="0" destOrd="0" presId="urn:microsoft.com/office/officeart/2005/8/layout/hierarchy2"/>
    <dgm:cxn modelId="{7EE62A3E-28ED-4538-A8D6-44727D8ADF4F}" type="presParOf" srcId="{FD87950B-4E8F-4C74-BDD6-4E61F5B5C7D8}" destId="{79854BF5-7897-4642-B33B-B2FB68225875}" srcOrd="0" destOrd="0" presId="urn:microsoft.com/office/officeart/2005/8/layout/hierarchy2"/>
    <dgm:cxn modelId="{E242BB7E-4EDF-4EA2-BE86-FEE4261481B3}" type="presParOf" srcId="{B52EBFD3-E7D2-48D6-B54E-87F4A653F7A2}" destId="{111522DB-32D2-40A5-BBE1-CDA25F591FD2}" srcOrd="1" destOrd="0" presId="urn:microsoft.com/office/officeart/2005/8/layout/hierarchy2"/>
    <dgm:cxn modelId="{178C4816-4023-4C9F-91FD-7C3E09AE866A}" type="presParOf" srcId="{111522DB-32D2-40A5-BBE1-CDA25F591FD2}" destId="{7F54B4CC-114B-48C7-B079-06621F228BC3}" srcOrd="0" destOrd="0" presId="urn:microsoft.com/office/officeart/2005/8/layout/hierarchy2"/>
    <dgm:cxn modelId="{919EC72B-66A3-4D5D-9A5C-C8A83273828D}" type="presParOf" srcId="{111522DB-32D2-40A5-BBE1-CDA25F591FD2}" destId="{100E23C1-AC7C-4CDC-B229-5F328B574B05}" srcOrd="1" destOrd="0" presId="urn:microsoft.com/office/officeart/2005/8/layout/hierarchy2"/>
    <dgm:cxn modelId="{C7EEFC42-B94D-4CBE-B14E-D01C6328C560}" type="presParOf" srcId="{100E23C1-AC7C-4CDC-B229-5F328B574B05}" destId="{64695E6B-5FF3-43F8-93E3-AD0B55F654C8}" srcOrd="0" destOrd="0" presId="urn:microsoft.com/office/officeart/2005/8/layout/hierarchy2"/>
    <dgm:cxn modelId="{34190F96-C121-4BC5-9A3B-6F837DA54D6C}" type="presParOf" srcId="{64695E6B-5FF3-43F8-93E3-AD0B55F654C8}" destId="{D701EB16-B87B-44C3-BB10-152D6089387C}" srcOrd="0" destOrd="0" presId="urn:microsoft.com/office/officeart/2005/8/layout/hierarchy2"/>
    <dgm:cxn modelId="{39432F4A-278C-4D18-A9F5-60A673FA39F3}" type="presParOf" srcId="{100E23C1-AC7C-4CDC-B229-5F328B574B05}" destId="{32CEBADC-E871-4113-BDCD-AAE6D1209107}" srcOrd="1" destOrd="0" presId="urn:microsoft.com/office/officeart/2005/8/layout/hierarchy2"/>
    <dgm:cxn modelId="{45447B91-BFD4-458F-A9D0-5F9B9E33DCDF}" type="presParOf" srcId="{32CEBADC-E871-4113-BDCD-AAE6D1209107}" destId="{0E70CBDB-9D50-43FF-BC64-8691A0DD4EE1}" srcOrd="0" destOrd="0" presId="urn:microsoft.com/office/officeart/2005/8/layout/hierarchy2"/>
    <dgm:cxn modelId="{55876934-59AA-4573-9402-5D19BD3DF1A0}" type="presParOf" srcId="{32CEBADC-E871-4113-BDCD-AAE6D1209107}" destId="{8A2EFE53-4757-4384-AD3C-DDB27696C89F}" srcOrd="1" destOrd="0" presId="urn:microsoft.com/office/officeart/2005/8/layout/hierarchy2"/>
    <dgm:cxn modelId="{C346EC83-1590-40F6-830C-51419D5818A9}" type="presParOf" srcId="{100E23C1-AC7C-4CDC-B229-5F328B574B05}" destId="{AC82F56E-5807-4071-A513-7343A085905E}" srcOrd="2" destOrd="0" presId="urn:microsoft.com/office/officeart/2005/8/layout/hierarchy2"/>
    <dgm:cxn modelId="{553F2F3B-09A1-403E-8516-DCAEE734921B}" type="presParOf" srcId="{AC82F56E-5807-4071-A513-7343A085905E}" destId="{BFB8D196-A284-4D4C-8D59-971FA541C30B}" srcOrd="0" destOrd="0" presId="urn:microsoft.com/office/officeart/2005/8/layout/hierarchy2"/>
    <dgm:cxn modelId="{712BC6CE-F751-42BD-B49F-3ACF4F64B32C}" type="presParOf" srcId="{100E23C1-AC7C-4CDC-B229-5F328B574B05}" destId="{EEBEF632-052D-4ACA-999C-7D7ED39EC2A3}" srcOrd="3" destOrd="0" presId="urn:microsoft.com/office/officeart/2005/8/layout/hierarchy2"/>
    <dgm:cxn modelId="{C8873CE5-D193-4519-B720-50A2F69552BD}" type="presParOf" srcId="{EEBEF632-052D-4ACA-999C-7D7ED39EC2A3}" destId="{7FC77114-16CF-4451-9B00-156846E6D638}" srcOrd="0" destOrd="0" presId="urn:microsoft.com/office/officeart/2005/8/layout/hierarchy2"/>
    <dgm:cxn modelId="{65F0030A-3AF0-4487-A173-76363DAA191B}" type="presParOf" srcId="{EEBEF632-052D-4ACA-999C-7D7ED39EC2A3}" destId="{97DD8EBE-EB1F-4A74-8D77-61D657BD1CE4}" srcOrd="1" destOrd="0" presId="urn:microsoft.com/office/officeart/2005/8/layout/hierarchy2"/>
    <dgm:cxn modelId="{B041FC02-D7CC-4301-BB78-EE34D437064D}" type="presParOf" srcId="{100E23C1-AC7C-4CDC-B229-5F328B574B05}" destId="{6A3CF635-21F9-41DB-89F7-334E54D1122C}" srcOrd="4" destOrd="0" presId="urn:microsoft.com/office/officeart/2005/8/layout/hierarchy2"/>
    <dgm:cxn modelId="{E83DD93F-A8AD-4024-A341-408828890218}" type="presParOf" srcId="{6A3CF635-21F9-41DB-89F7-334E54D1122C}" destId="{17023228-68EC-497F-96D0-54BE052DBC94}" srcOrd="0" destOrd="0" presId="urn:microsoft.com/office/officeart/2005/8/layout/hierarchy2"/>
    <dgm:cxn modelId="{91528E46-4586-414C-9B07-8A16C310AD10}" type="presParOf" srcId="{100E23C1-AC7C-4CDC-B229-5F328B574B05}" destId="{062F4C10-C528-4571-9A52-0028965403F4}" srcOrd="5" destOrd="0" presId="urn:microsoft.com/office/officeart/2005/8/layout/hierarchy2"/>
    <dgm:cxn modelId="{CCB8EF4B-FEED-4C9B-8CED-49B9BF68C546}" type="presParOf" srcId="{062F4C10-C528-4571-9A52-0028965403F4}" destId="{BAA03515-FF7D-49BC-9865-D8A9FAE629BB}" srcOrd="0" destOrd="0" presId="urn:microsoft.com/office/officeart/2005/8/layout/hierarchy2"/>
    <dgm:cxn modelId="{F07056F3-1EB8-4585-BF1B-47BDD251CD7D}" type="presParOf" srcId="{062F4C10-C528-4571-9A52-0028965403F4}" destId="{F2CD44AC-E4C5-4D9D-B239-11720200ACB2}" srcOrd="1" destOrd="0" presId="urn:microsoft.com/office/officeart/2005/8/layout/hierarchy2"/>
    <dgm:cxn modelId="{23495B32-8E45-4F70-832A-8A639127835A}" type="presParOf" srcId="{B52EBFD3-E7D2-48D6-B54E-87F4A653F7A2}" destId="{20E08445-CEA1-4B13-B0A1-55ECF1453D26}" srcOrd="2" destOrd="0" presId="urn:microsoft.com/office/officeart/2005/8/layout/hierarchy2"/>
    <dgm:cxn modelId="{82125CEF-E5F2-4C36-9C5F-A8D04B741DD8}" type="presParOf" srcId="{20E08445-CEA1-4B13-B0A1-55ECF1453D26}" destId="{5DB63111-F642-4551-809E-123A8241E5A1}" srcOrd="0" destOrd="0" presId="urn:microsoft.com/office/officeart/2005/8/layout/hierarchy2"/>
    <dgm:cxn modelId="{2089BA34-F1A7-4256-A1E0-ABE26854612C}" type="presParOf" srcId="{B52EBFD3-E7D2-48D6-B54E-87F4A653F7A2}" destId="{AFF02C6E-E5BE-4617-9986-0D0F22CBBE57}" srcOrd="3" destOrd="0" presId="urn:microsoft.com/office/officeart/2005/8/layout/hierarchy2"/>
    <dgm:cxn modelId="{6FFE4073-C053-452C-93B2-BBE5B5DDD587}" type="presParOf" srcId="{AFF02C6E-E5BE-4617-9986-0D0F22CBBE57}" destId="{07475B80-5E8B-48F3-8957-8808AB0FCA62}" srcOrd="0" destOrd="0" presId="urn:microsoft.com/office/officeart/2005/8/layout/hierarchy2"/>
    <dgm:cxn modelId="{D222CD0D-CA4A-41B5-98EE-9339A467BEAB}" type="presParOf" srcId="{AFF02C6E-E5BE-4617-9986-0D0F22CBBE57}" destId="{3F0F4180-5026-4CFC-BA72-6319CD51D403}" srcOrd="1" destOrd="0" presId="urn:microsoft.com/office/officeart/2005/8/layout/hierarchy2"/>
    <dgm:cxn modelId="{1E86DBD3-2050-4AE6-AF22-B4A15B4D6CD4}" type="presParOf" srcId="{3F0F4180-5026-4CFC-BA72-6319CD51D403}" destId="{A639F305-37F7-4B70-9908-5F6F0D858380}" srcOrd="0" destOrd="0" presId="urn:microsoft.com/office/officeart/2005/8/layout/hierarchy2"/>
    <dgm:cxn modelId="{C58B4268-B11B-42B6-B981-AEE88E6625F6}" type="presParOf" srcId="{A639F305-37F7-4B70-9908-5F6F0D858380}" destId="{5D6B9451-B904-42BA-92D4-1CE79ABAC984}" srcOrd="0" destOrd="0" presId="urn:microsoft.com/office/officeart/2005/8/layout/hierarchy2"/>
    <dgm:cxn modelId="{BEF3C17D-A877-443E-A1E3-18C684FF8917}" type="presParOf" srcId="{3F0F4180-5026-4CFC-BA72-6319CD51D403}" destId="{7E3D09D6-D237-4FD0-844E-7007509939BF}" srcOrd="1" destOrd="0" presId="urn:microsoft.com/office/officeart/2005/8/layout/hierarchy2"/>
    <dgm:cxn modelId="{C5F0BBE1-6C2A-4577-BCF2-EA7995FDE635}" type="presParOf" srcId="{7E3D09D6-D237-4FD0-844E-7007509939BF}" destId="{C7A2A90B-5EF3-4246-B9EF-8F34C4121B75}" srcOrd="0" destOrd="0" presId="urn:microsoft.com/office/officeart/2005/8/layout/hierarchy2"/>
    <dgm:cxn modelId="{5168638A-B4B2-436E-B450-357952632702}" type="presParOf" srcId="{7E3D09D6-D237-4FD0-844E-7007509939BF}" destId="{F889710A-9591-4154-87BD-458765D41159}" srcOrd="1" destOrd="0" presId="urn:microsoft.com/office/officeart/2005/8/layout/hierarchy2"/>
    <dgm:cxn modelId="{35AA4902-BE6F-416E-8C94-EEDB1B4CE56C}" type="presParOf" srcId="{B52EBFD3-E7D2-48D6-B54E-87F4A653F7A2}" destId="{272A0943-0322-47DF-966B-D649E405F93C}" srcOrd="4" destOrd="0" presId="urn:microsoft.com/office/officeart/2005/8/layout/hierarchy2"/>
    <dgm:cxn modelId="{5D881BE6-2F32-4011-B000-E2DF14A9B77A}" type="presParOf" srcId="{272A0943-0322-47DF-966B-D649E405F93C}" destId="{6CD66AA5-6B1B-45F7-B78A-2CF1C2FB55B6}" srcOrd="0" destOrd="0" presId="urn:microsoft.com/office/officeart/2005/8/layout/hierarchy2"/>
    <dgm:cxn modelId="{D9BE01E5-E656-4802-ABF9-D83B32B5DFC5}" type="presParOf" srcId="{B52EBFD3-E7D2-48D6-B54E-87F4A653F7A2}" destId="{EC606D58-D7DE-4B04-9366-BD1F7995D3F4}" srcOrd="5" destOrd="0" presId="urn:microsoft.com/office/officeart/2005/8/layout/hierarchy2"/>
    <dgm:cxn modelId="{E034C78D-10DB-40D9-A97E-2DE6A9B73B21}" type="presParOf" srcId="{EC606D58-D7DE-4B04-9366-BD1F7995D3F4}" destId="{CFC22410-DAE8-4192-B271-6971B6DEF6F5}" srcOrd="0" destOrd="0" presId="urn:microsoft.com/office/officeart/2005/8/layout/hierarchy2"/>
    <dgm:cxn modelId="{04EE2AAE-BC57-4E1E-AC15-789EEA1F9D23}" type="presParOf" srcId="{EC606D58-D7DE-4B04-9366-BD1F7995D3F4}" destId="{6D309EA3-577B-44D5-9408-44EE5DE05965}" srcOrd="1" destOrd="0" presId="urn:microsoft.com/office/officeart/2005/8/layout/hierarchy2"/>
    <dgm:cxn modelId="{01ED57EE-8350-4DC2-9283-5C8D38ECE043}" type="presParOf" srcId="{6D309EA3-577B-44D5-9408-44EE5DE05965}" destId="{090DA268-5E02-4278-AC6D-CE8440B87EF1}" srcOrd="0" destOrd="0" presId="urn:microsoft.com/office/officeart/2005/8/layout/hierarchy2"/>
    <dgm:cxn modelId="{E44F2932-BD3C-49B6-ABFC-9D71A3E3C5DE}" type="presParOf" srcId="{090DA268-5E02-4278-AC6D-CE8440B87EF1}" destId="{7710E5B5-EE75-42F5-9C2A-C033041C46B6}" srcOrd="0" destOrd="0" presId="urn:microsoft.com/office/officeart/2005/8/layout/hierarchy2"/>
    <dgm:cxn modelId="{E2A17F94-AA3A-4DE9-8982-6E96A6559939}" type="presParOf" srcId="{6D309EA3-577B-44D5-9408-44EE5DE05965}" destId="{CB362435-5FDA-4F16-87CD-3573DFB39CE1}" srcOrd="1" destOrd="0" presId="urn:microsoft.com/office/officeart/2005/8/layout/hierarchy2"/>
    <dgm:cxn modelId="{D71BE25C-8FF2-46F5-83D8-65E39521916F}" type="presParOf" srcId="{CB362435-5FDA-4F16-87CD-3573DFB39CE1}" destId="{C757D30D-E0C4-4BDA-8118-DDF238262DEC}" srcOrd="0" destOrd="0" presId="urn:microsoft.com/office/officeart/2005/8/layout/hierarchy2"/>
    <dgm:cxn modelId="{D2E87280-1355-406E-A1F2-3E51A49EDAA7}" type="presParOf" srcId="{CB362435-5FDA-4F16-87CD-3573DFB39CE1}" destId="{B343B44B-D67E-4AC9-9C9A-AD4EA9258C48}" srcOrd="1" destOrd="0" presId="urn:microsoft.com/office/officeart/2005/8/layout/hierarchy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1" qsCatId="3D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Invocation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Start process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BF1AEF91-741D-4736-8710-348882520E9D}" type="presOf" srcId="{66487DD0-4D79-4180-AB81-B361B4FACE09}" destId="{B9ED2192-F917-4BE7-A6BE-813D7F382554}" srcOrd="0" destOrd="0" presId="urn:microsoft.com/office/officeart/2005/8/layout/vList2"/>
    <dgm:cxn modelId="{B8082DE6-A6A3-4FA1-89A0-39C89314EA65}" type="presOf" srcId="{528F3EA0-FF05-41BA-8D3E-F7B5C76FE089}" destId="{1C2747ED-0D77-4E6D-821C-76CAEE91064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F16CEEB9-81B9-4294-B83A-C711057994C5}" type="presOf" srcId="{0BD08EE0-BF9E-4795-9B77-0FBE4D9C3FAA}" destId="{E5C0A0C3-950D-4232-9872-9174C1E989AA}" srcOrd="0" destOrd="0" presId="urn:microsoft.com/office/officeart/2005/8/layout/vList2"/>
    <dgm:cxn modelId="{E6A7DBD4-6AC3-419B-A5E3-8782169917C8}" type="presParOf" srcId="{B9ED2192-F917-4BE7-A6BE-813D7F382554}" destId="{1C2747ED-0D77-4E6D-821C-76CAEE910644}" srcOrd="0" destOrd="0" presId="urn:microsoft.com/office/officeart/2005/8/layout/vList2"/>
    <dgm:cxn modelId="{0CD101BB-508A-4A82-A4C4-38F7B5CAF819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27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1" qsCatId="3D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Termination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End process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107167" custLinFactNeighborX="4000" custLinFactNeighborY="-42254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4E2FDD5F-5FCA-493A-B754-F08AB63C9CE2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6D3CEE54-5541-4005-8D94-B499F8EEACBB}" type="presOf" srcId="{528F3EA0-FF05-41BA-8D3E-F7B5C76FE089}" destId="{1C2747ED-0D77-4E6D-821C-76CAEE910644}" srcOrd="0" destOrd="0" presId="urn:microsoft.com/office/officeart/2005/8/layout/vList2"/>
    <dgm:cxn modelId="{73F66B14-7719-46A2-9F49-6D907ADEAFD8}" type="presOf" srcId="{0BD08EE0-BF9E-4795-9B77-0FBE4D9C3FAA}" destId="{E5C0A0C3-950D-4232-9872-9174C1E989AA}" srcOrd="0" destOrd="0" presId="urn:microsoft.com/office/officeart/2005/8/layout/vList2"/>
    <dgm:cxn modelId="{F34E0968-9416-490D-80DC-37089E69C4D9}" type="presParOf" srcId="{B9ED2192-F917-4BE7-A6BE-813D7F382554}" destId="{1C2747ED-0D77-4E6D-821C-76CAEE910644}" srcOrd="0" destOrd="0" presId="urn:microsoft.com/office/officeart/2005/8/layout/vList2"/>
    <dgm:cxn modelId="{CBBDB26C-05DF-4766-A192-915ABED22CBF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32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1" qsCatId="3D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Implicit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Efficiency 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69043" custLinFactNeighborY="59162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21B51607-F5C2-4174-8CA1-557DE30CAF59}" type="presOf" srcId="{0BD08EE0-BF9E-4795-9B77-0FBE4D9C3FAA}" destId="{E5C0A0C3-950D-4232-9872-9174C1E989AA}" srcOrd="0" destOrd="0" presId="urn:microsoft.com/office/officeart/2005/8/layout/vList2"/>
    <dgm:cxn modelId="{C6E20EB4-CC22-4C48-A655-EDF38DAA8536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DF2C2DAC-F5F2-4DE4-987F-4A845A81092A}" type="presOf" srcId="{528F3EA0-FF05-41BA-8D3E-F7B5C76FE089}" destId="{1C2747ED-0D77-4E6D-821C-76CAEE910644}" srcOrd="0" destOrd="0" presId="urn:microsoft.com/office/officeart/2005/8/layout/vList2"/>
    <dgm:cxn modelId="{90E2DF44-0B9A-48D4-AD2E-CD8CF0694213}" type="presParOf" srcId="{B9ED2192-F917-4BE7-A6BE-813D7F382554}" destId="{1C2747ED-0D77-4E6D-821C-76CAEE910644}" srcOrd="0" destOrd="0" presId="urn:microsoft.com/office/officeart/2005/8/layout/vList2"/>
    <dgm:cxn modelId="{6B1AF8B0-956B-4E91-92EB-8499880B81B1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37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1" qsCatId="3D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Explicit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User specified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LinFactNeighborY="45083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53602EDE-1A20-42AE-882E-1C85D1315776}" type="presOf" srcId="{0BD08EE0-BF9E-4795-9B77-0FBE4D9C3FAA}" destId="{E5C0A0C3-950D-4232-9872-9174C1E989AA}" srcOrd="0" destOrd="0" presId="urn:microsoft.com/office/officeart/2005/8/layout/vList2"/>
    <dgm:cxn modelId="{E61E371F-B411-4012-B9C6-5B5EEAEA06D7}" type="presOf" srcId="{66487DD0-4D79-4180-AB81-B361B4FACE09}" destId="{B9ED2192-F917-4BE7-A6BE-813D7F382554}" srcOrd="0" destOrd="0" presId="urn:microsoft.com/office/officeart/2005/8/layout/vList2"/>
    <dgm:cxn modelId="{E3DBE082-2972-4DB8-8AAF-2D02BF0E5ED1}" type="presOf" srcId="{528F3EA0-FF05-41BA-8D3E-F7B5C76FE089}" destId="{1C2747ED-0D77-4E6D-821C-76CAEE91064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098EA959-D67D-43E1-90DE-4C1091839FC3}" type="presParOf" srcId="{B9ED2192-F917-4BE7-A6BE-813D7F382554}" destId="{1C2747ED-0D77-4E6D-821C-76CAEE910644}" srcOrd="0" destOrd="0" presId="urn:microsoft.com/office/officeart/2005/8/layout/vList2"/>
    <dgm:cxn modelId="{0C20E2EE-3639-4A86-9136-313072069BCF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42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1" qsCatId="3D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Security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For confidentiality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79055" custLinFactNeighborY="17867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 custLinFactX="-100000" custLinFactNeighborX="-176000" custLinFactNeighborY="3211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3D1C355B-4450-4851-B48E-6464A39EFE7B}" type="presOf" srcId="{66487DD0-4D79-4180-AB81-B361B4FACE09}" destId="{B9ED2192-F917-4BE7-A6BE-813D7F382554}" srcOrd="0" destOrd="0" presId="urn:microsoft.com/office/officeart/2005/8/layout/vList2"/>
    <dgm:cxn modelId="{6A2A1E54-2043-41B6-BA4E-2F3D87BA18AE}" type="presOf" srcId="{528F3EA0-FF05-41BA-8D3E-F7B5C76FE089}" destId="{1C2747ED-0D77-4E6D-821C-76CAEE91064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2967B102-3E53-4DF9-ADC5-A5E7C8E074E1}" type="presOf" srcId="{0BD08EE0-BF9E-4795-9B77-0FBE4D9C3FAA}" destId="{E5C0A0C3-950D-4232-9872-9174C1E989AA}" srcOrd="0" destOrd="0" presId="urn:microsoft.com/office/officeart/2005/8/layout/vList2"/>
    <dgm:cxn modelId="{7F0EA398-C9D1-4650-8EA3-9FB02664DF03}" type="presParOf" srcId="{B9ED2192-F917-4BE7-A6BE-813D7F382554}" destId="{1C2747ED-0D77-4E6D-821C-76CAEE910644}" srcOrd="0" destOrd="0" presId="urn:microsoft.com/office/officeart/2005/8/layout/vList2"/>
    <dgm:cxn modelId="{7A4A287B-92D6-4445-AC52-FF94B44C99C1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4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C96073C-4771-409B-8340-CCE6BD44682A}" type="doc">
      <dgm:prSet loTypeId="urn:microsoft.com/office/officeart/2005/8/layout/process4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152B0AF-3D2A-43F4-884E-701670E155FE}">
      <dgm:prSet phldrT="[Text]" custT="1">
        <dgm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sz="2400" b="1" dirty="0" smtClean="0">
              <a:latin typeface="Candara" pitchFamily="34" charset="0"/>
              <a:cs typeface="Aharoni" pitchFamily="2" charset="-79"/>
            </a:rPr>
            <a:t>Search Hotel</a:t>
          </a:r>
          <a:endParaRPr lang="en-US" sz="2400" b="1" dirty="0">
            <a:latin typeface="Candara" pitchFamily="34" charset="0"/>
            <a:cs typeface="Aharoni" pitchFamily="2" charset="-79"/>
          </a:endParaRPr>
        </a:p>
      </dgm:t>
    </dgm:pt>
    <dgm:pt modelId="{C24F1A67-583C-4DE7-9479-33AA13908660}" type="parTrans" cxnId="{E65190D7-5457-4727-80F7-22034A2263C4}">
      <dgm:prSet/>
      <dgm:spPr/>
      <dgm:t>
        <a:bodyPr/>
        <a:lstStyle/>
        <a:p>
          <a:endParaRPr lang="en-US"/>
        </a:p>
      </dgm:t>
    </dgm:pt>
    <dgm:pt modelId="{BE9F93BD-1795-4A6B-9300-E9757C720154}" type="sibTrans" cxnId="{E65190D7-5457-4727-80F7-22034A2263C4}">
      <dgm:prSet/>
      <dgm:spPr/>
      <dgm:t>
        <a:bodyPr/>
        <a:lstStyle/>
        <a:p>
          <a:endParaRPr lang="en-US"/>
        </a:p>
      </dgm:t>
    </dgm:pt>
    <dgm:pt modelId="{2F52A6E2-3EC7-41C6-899C-A9321BDC39F3}">
      <dgm:prSet phldrT="[Text]" custT="1">
        <dgm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sz="2400" b="1" dirty="0" smtClean="0">
              <a:latin typeface="Candara" pitchFamily="34" charset="0"/>
              <a:cs typeface="Aharoni" pitchFamily="2" charset="-79"/>
            </a:rPr>
            <a:t>Check Rooms</a:t>
          </a:r>
          <a:endParaRPr lang="en-US" sz="2400" b="1" dirty="0">
            <a:latin typeface="Candara" pitchFamily="34" charset="0"/>
            <a:cs typeface="Aharoni" pitchFamily="2" charset="-79"/>
          </a:endParaRPr>
        </a:p>
      </dgm:t>
    </dgm:pt>
    <dgm:pt modelId="{2124030A-C83E-4E2F-B321-F6352D9F9720}" type="parTrans" cxnId="{40D1003E-496C-42D4-A1FF-88F2CA7F6CE7}">
      <dgm:prSet/>
      <dgm:spPr/>
      <dgm:t>
        <a:bodyPr/>
        <a:lstStyle/>
        <a:p>
          <a:endParaRPr lang="en-US"/>
        </a:p>
      </dgm:t>
    </dgm:pt>
    <dgm:pt modelId="{81B627BF-2DB3-4BD6-A026-F0DFF329634B}" type="sibTrans" cxnId="{40D1003E-496C-42D4-A1FF-88F2CA7F6CE7}">
      <dgm:prSet/>
      <dgm:spPr/>
      <dgm:t>
        <a:bodyPr/>
        <a:lstStyle/>
        <a:p>
          <a:endParaRPr lang="en-US"/>
        </a:p>
      </dgm:t>
    </dgm:pt>
    <dgm:pt modelId="{EB9C0BEB-A914-4D37-9680-FF17BE80A7BC}">
      <dgm:prSet phldrT="[Text]" custT="1">
        <dgm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sz="2400" b="1" dirty="0" smtClean="0">
              <a:latin typeface="Candara" pitchFamily="34" charset="0"/>
              <a:cs typeface="Aharoni" pitchFamily="2" charset="-79"/>
            </a:rPr>
            <a:t>Book</a:t>
          </a:r>
          <a:r>
            <a:rPr lang="en-US" sz="2000" dirty="0" smtClean="0">
              <a:latin typeface="Candara" pitchFamily="34" charset="0"/>
            </a:rPr>
            <a:t> </a:t>
          </a:r>
          <a:r>
            <a:rPr lang="en-US" sz="2400" b="1" dirty="0" smtClean="0">
              <a:latin typeface="Candara" pitchFamily="34" charset="0"/>
              <a:cs typeface="Aharoni" pitchFamily="2" charset="-79"/>
            </a:rPr>
            <a:t>Rooms</a:t>
          </a:r>
          <a:endParaRPr lang="en-US" sz="2400" b="1" dirty="0">
            <a:latin typeface="Candara" pitchFamily="34" charset="0"/>
            <a:cs typeface="Aharoni" pitchFamily="2" charset="-79"/>
          </a:endParaRPr>
        </a:p>
      </dgm:t>
    </dgm:pt>
    <dgm:pt modelId="{06B6BC33-9ABA-4177-986A-91845B42D3F9}" type="parTrans" cxnId="{99CDDE1E-D2C1-4779-813E-FBAD055F33A7}">
      <dgm:prSet/>
      <dgm:spPr/>
      <dgm:t>
        <a:bodyPr/>
        <a:lstStyle/>
        <a:p>
          <a:endParaRPr lang="en-US"/>
        </a:p>
      </dgm:t>
    </dgm:pt>
    <dgm:pt modelId="{DCD20800-E5DA-461D-8756-BD40F856D7BF}" type="sibTrans" cxnId="{99CDDE1E-D2C1-4779-813E-FBAD055F33A7}">
      <dgm:prSet/>
      <dgm:spPr/>
      <dgm:t>
        <a:bodyPr/>
        <a:lstStyle/>
        <a:p>
          <a:endParaRPr lang="en-US"/>
        </a:p>
      </dgm:t>
    </dgm:pt>
    <dgm:pt modelId="{379FC270-4749-4E66-B9FA-D43C0C114303}">
      <dgm:prSet phldrT="[Text]">
        <dgm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b="1" dirty="0" smtClean="0">
              <a:latin typeface="Candara" pitchFamily="34" charset="0"/>
              <a:cs typeface="Aharoni" pitchFamily="2" charset="-79"/>
            </a:rPr>
            <a:t>Check Status</a:t>
          </a:r>
          <a:endParaRPr lang="en-US" b="1" dirty="0">
            <a:latin typeface="Candara" pitchFamily="34" charset="0"/>
            <a:cs typeface="Aharoni" pitchFamily="2" charset="-79"/>
          </a:endParaRPr>
        </a:p>
      </dgm:t>
    </dgm:pt>
    <dgm:pt modelId="{CEF8D93B-F18D-49AF-A6A9-24987154E6E7}" type="parTrans" cxnId="{122ECD01-88DB-46C7-8AD7-AFC8313B7D9E}">
      <dgm:prSet/>
      <dgm:spPr/>
      <dgm:t>
        <a:bodyPr/>
        <a:lstStyle/>
        <a:p>
          <a:endParaRPr lang="en-US"/>
        </a:p>
      </dgm:t>
    </dgm:pt>
    <dgm:pt modelId="{5B35CF93-D800-4126-ADC5-671139302670}" type="sibTrans" cxnId="{122ECD01-88DB-46C7-8AD7-AFC8313B7D9E}">
      <dgm:prSet/>
      <dgm:spPr/>
      <dgm:t>
        <a:bodyPr/>
        <a:lstStyle/>
        <a:p>
          <a:endParaRPr lang="en-US"/>
        </a:p>
      </dgm:t>
    </dgm:pt>
    <dgm:pt modelId="{D188C809-721D-467B-9F00-99FD90FAD66B}" type="pres">
      <dgm:prSet presAssocID="{8C96073C-4771-409B-8340-CCE6BD44682A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D013F4B0-CAA5-4978-84FC-6CE9618F6802}" type="pres">
      <dgm:prSet presAssocID="{379FC270-4749-4E66-B9FA-D43C0C114303}" presName="boxAndChildren" presStyleCnt="0"/>
      <dgm:spPr/>
    </dgm:pt>
    <dgm:pt modelId="{98CC0ACD-2046-4931-B75C-A6BAEB8B91E9}" type="pres">
      <dgm:prSet presAssocID="{379FC270-4749-4E66-B9FA-D43C0C114303}" presName="parentTextBox" presStyleLbl="node1" presStyleIdx="0" presStyleCnt="4" custScaleX="94981" custScaleY="15350" custLinFactNeighborX="-359" custLinFactNeighborY="-7188"/>
      <dgm:spPr/>
      <dgm:t>
        <a:bodyPr/>
        <a:lstStyle/>
        <a:p>
          <a:endParaRPr lang="en-US"/>
        </a:p>
      </dgm:t>
    </dgm:pt>
    <dgm:pt modelId="{6C1D04E7-E512-465C-A023-611EE25EE161}" type="pres">
      <dgm:prSet presAssocID="{DCD20800-E5DA-461D-8756-BD40F856D7BF}" presName="sp" presStyleCnt="0"/>
      <dgm:spPr/>
    </dgm:pt>
    <dgm:pt modelId="{46DD580C-89ED-4D55-BBFA-1FE3F6E68AD7}" type="pres">
      <dgm:prSet presAssocID="{EB9C0BEB-A914-4D37-9680-FF17BE80A7BC}" presName="arrowAndChildren" presStyleCnt="0"/>
      <dgm:spPr/>
    </dgm:pt>
    <dgm:pt modelId="{81B3D6AD-2D1D-474B-A4D5-3972420D28F3}" type="pres">
      <dgm:prSet presAssocID="{EB9C0BEB-A914-4D37-9680-FF17BE80A7BC}" presName="parentTextArrow" presStyleLbl="node1" presStyleIdx="1" presStyleCnt="4" custScaleX="94472" custScaleY="15858" custLinFactNeighborX="-463" custLinFactNeighborY="-4239"/>
      <dgm:spPr/>
      <dgm:t>
        <a:bodyPr/>
        <a:lstStyle/>
        <a:p>
          <a:endParaRPr lang="en-US"/>
        </a:p>
      </dgm:t>
    </dgm:pt>
    <dgm:pt modelId="{56E016A7-4D4D-4A29-BEF0-C876E2309190}" type="pres">
      <dgm:prSet presAssocID="{81B627BF-2DB3-4BD6-A026-F0DFF329634B}" presName="sp" presStyleCnt="0"/>
      <dgm:spPr/>
    </dgm:pt>
    <dgm:pt modelId="{054BE8FB-B42A-4961-97A8-4F2F2E598EAB}" type="pres">
      <dgm:prSet presAssocID="{2F52A6E2-3EC7-41C6-899C-A9321BDC39F3}" presName="arrowAndChildren" presStyleCnt="0"/>
      <dgm:spPr/>
    </dgm:pt>
    <dgm:pt modelId="{E3939F56-722C-42DF-A72E-296AD4711193}" type="pres">
      <dgm:prSet presAssocID="{2F52A6E2-3EC7-41C6-899C-A9321BDC39F3}" presName="parentTextArrow" presStyleLbl="node1" presStyleIdx="2" presStyleCnt="4" custScaleX="94621" custScaleY="17753" custLinFactNeighborX="-359" custLinFactNeighborY="-4211"/>
      <dgm:spPr/>
      <dgm:t>
        <a:bodyPr/>
        <a:lstStyle/>
        <a:p>
          <a:endParaRPr lang="en-US"/>
        </a:p>
      </dgm:t>
    </dgm:pt>
    <dgm:pt modelId="{86BB0CEF-AC5E-4F9F-855D-9DC279714D6A}" type="pres">
      <dgm:prSet presAssocID="{BE9F93BD-1795-4A6B-9300-E9757C720154}" presName="sp" presStyleCnt="0"/>
      <dgm:spPr/>
    </dgm:pt>
    <dgm:pt modelId="{9DC1663B-56A5-442F-BD17-9AE3C0758CD0}" type="pres">
      <dgm:prSet presAssocID="{C152B0AF-3D2A-43F4-884E-701670E155FE}" presName="arrowAndChildren" presStyleCnt="0"/>
      <dgm:spPr/>
    </dgm:pt>
    <dgm:pt modelId="{0652BC7E-7AFC-4631-9324-26B650C32B4C}" type="pres">
      <dgm:prSet presAssocID="{C152B0AF-3D2A-43F4-884E-701670E155FE}" presName="parentTextArrow" presStyleLbl="node1" presStyleIdx="3" presStyleCnt="4" custScaleX="94295" custScaleY="17174" custLinFactNeighborX="-343" custLinFactNeighborY="-7624"/>
      <dgm:spPr/>
      <dgm:t>
        <a:bodyPr/>
        <a:lstStyle/>
        <a:p>
          <a:endParaRPr lang="en-US"/>
        </a:p>
      </dgm:t>
    </dgm:pt>
  </dgm:ptLst>
  <dgm:cxnLst>
    <dgm:cxn modelId="{99CDDE1E-D2C1-4779-813E-FBAD055F33A7}" srcId="{8C96073C-4771-409B-8340-CCE6BD44682A}" destId="{EB9C0BEB-A914-4D37-9680-FF17BE80A7BC}" srcOrd="2" destOrd="0" parTransId="{06B6BC33-9ABA-4177-986A-91845B42D3F9}" sibTransId="{DCD20800-E5DA-461D-8756-BD40F856D7BF}"/>
    <dgm:cxn modelId="{578D8C68-0230-49CF-B64D-92E51A33EB2E}" type="presOf" srcId="{379FC270-4749-4E66-B9FA-D43C0C114303}" destId="{98CC0ACD-2046-4931-B75C-A6BAEB8B91E9}" srcOrd="0" destOrd="0" presId="urn:microsoft.com/office/officeart/2005/8/layout/process4"/>
    <dgm:cxn modelId="{E65190D7-5457-4727-80F7-22034A2263C4}" srcId="{8C96073C-4771-409B-8340-CCE6BD44682A}" destId="{C152B0AF-3D2A-43F4-884E-701670E155FE}" srcOrd="0" destOrd="0" parTransId="{C24F1A67-583C-4DE7-9479-33AA13908660}" sibTransId="{BE9F93BD-1795-4A6B-9300-E9757C720154}"/>
    <dgm:cxn modelId="{B32D417A-A299-431B-9465-8242930D6134}" type="presOf" srcId="{EB9C0BEB-A914-4D37-9680-FF17BE80A7BC}" destId="{81B3D6AD-2D1D-474B-A4D5-3972420D28F3}" srcOrd="0" destOrd="0" presId="urn:microsoft.com/office/officeart/2005/8/layout/process4"/>
    <dgm:cxn modelId="{E0EA259D-299E-4F41-AB51-F6D16968D74F}" type="presOf" srcId="{2F52A6E2-3EC7-41C6-899C-A9321BDC39F3}" destId="{E3939F56-722C-42DF-A72E-296AD4711193}" srcOrd="0" destOrd="0" presId="urn:microsoft.com/office/officeart/2005/8/layout/process4"/>
    <dgm:cxn modelId="{9D818449-826E-4E99-938D-F005291CB0C6}" type="presOf" srcId="{C152B0AF-3D2A-43F4-884E-701670E155FE}" destId="{0652BC7E-7AFC-4631-9324-26B650C32B4C}" srcOrd="0" destOrd="0" presId="urn:microsoft.com/office/officeart/2005/8/layout/process4"/>
    <dgm:cxn modelId="{40D1003E-496C-42D4-A1FF-88F2CA7F6CE7}" srcId="{8C96073C-4771-409B-8340-CCE6BD44682A}" destId="{2F52A6E2-3EC7-41C6-899C-A9321BDC39F3}" srcOrd="1" destOrd="0" parTransId="{2124030A-C83E-4E2F-B321-F6352D9F9720}" sibTransId="{81B627BF-2DB3-4BD6-A026-F0DFF329634B}"/>
    <dgm:cxn modelId="{0DDA023B-651B-48BD-9A79-89D74D053814}" type="presOf" srcId="{8C96073C-4771-409B-8340-CCE6BD44682A}" destId="{D188C809-721D-467B-9F00-99FD90FAD66B}" srcOrd="0" destOrd="0" presId="urn:microsoft.com/office/officeart/2005/8/layout/process4"/>
    <dgm:cxn modelId="{122ECD01-88DB-46C7-8AD7-AFC8313B7D9E}" srcId="{8C96073C-4771-409B-8340-CCE6BD44682A}" destId="{379FC270-4749-4E66-B9FA-D43C0C114303}" srcOrd="3" destOrd="0" parTransId="{CEF8D93B-F18D-49AF-A6A9-24987154E6E7}" sibTransId="{5B35CF93-D800-4126-ADC5-671139302670}"/>
    <dgm:cxn modelId="{5C8E8A52-BD8F-4B20-8015-A9A6C1B8EAF6}" type="presParOf" srcId="{D188C809-721D-467B-9F00-99FD90FAD66B}" destId="{D013F4B0-CAA5-4978-84FC-6CE9618F6802}" srcOrd="0" destOrd="0" presId="urn:microsoft.com/office/officeart/2005/8/layout/process4"/>
    <dgm:cxn modelId="{78D1C4D6-DEFC-4B01-AB76-185B549D740B}" type="presParOf" srcId="{D013F4B0-CAA5-4978-84FC-6CE9618F6802}" destId="{98CC0ACD-2046-4931-B75C-A6BAEB8B91E9}" srcOrd="0" destOrd="0" presId="urn:microsoft.com/office/officeart/2005/8/layout/process4"/>
    <dgm:cxn modelId="{F7E40305-856B-4E91-AEA3-CCBE178B62B7}" type="presParOf" srcId="{D188C809-721D-467B-9F00-99FD90FAD66B}" destId="{6C1D04E7-E512-465C-A023-611EE25EE161}" srcOrd="1" destOrd="0" presId="urn:microsoft.com/office/officeart/2005/8/layout/process4"/>
    <dgm:cxn modelId="{D3F71F87-9768-43A6-BFC0-DCF8420ACC55}" type="presParOf" srcId="{D188C809-721D-467B-9F00-99FD90FAD66B}" destId="{46DD580C-89ED-4D55-BBFA-1FE3F6E68AD7}" srcOrd="2" destOrd="0" presId="urn:microsoft.com/office/officeart/2005/8/layout/process4"/>
    <dgm:cxn modelId="{EDAD182E-85C3-4A65-8479-7EA8F773A1A8}" type="presParOf" srcId="{46DD580C-89ED-4D55-BBFA-1FE3F6E68AD7}" destId="{81B3D6AD-2D1D-474B-A4D5-3972420D28F3}" srcOrd="0" destOrd="0" presId="urn:microsoft.com/office/officeart/2005/8/layout/process4"/>
    <dgm:cxn modelId="{A83B469B-7247-403F-B713-43DBEEAEFE6E}" type="presParOf" srcId="{D188C809-721D-467B-9F00-99FD90FAD66B}" destId="{56E016A7-4D4D-4A29-BEF0-C876E2309190}" srcOrd="3" destOrd="0" presId="urn:microsoft.com/office/officeart/2005/8/layout/process4"/>
    <dgm:cxn modelId="{A13E1BBD-9C51-4458-BA1B-21F8DA30A8C1}" type="presParOf" srcId="{D188C809-721D-467B-9F00-99FD90FAD66B}" destId="{054BE8FB-B42A-4961-97A8-4F2F2E598EAB}" srcOrd="4" destOrd="0" presId="urn:microsoft.com/office/officeart/2005/8/layout/process4"/>
    <dgm:cxn modelId="{13FFF5B9-036D-473B-A055-BE38F5263F18}" type="presParOf" srcId="{054BE8FB-B42A-4961-97A8-4F2F2E598EAB}" destId="{E3939F56-722C-42DF-A72E-296AD4711193}" srcOrd="0" destOrd="0" presId="urn:microsoft.com/office/officeart/2005/8/layout/process4"/>
    <dgm:cxn modelId="{8167D0A0-65E4-402A-AC5D-76C5875A487E}" type="presParOf" srcId="{D188C809-721D-467B-9F00-99FD90FAD66B}" destId="{86BB0CEF-AC5E-4F9F-855D-9DC279714D6A}" srcOrd="5" destOrd="0" presId="urn:microsoft.com/office/officeart/2005/8/layout/process4"/>
    <dgm:cxn modelId="{87A74E45-5606-4797-9BE7-18E271BBA86B}" type="presParOf" srcId="{D188C809-721D-467B-9F00-99FD90FAD66B}" destId="{9DC1663B-56A5-442F-BD17-9AE3C0758CD0}" srcOrd="6" destOrd="0" presId="urn:microsoft.com/office/officeart/2005/8/layout/process4"/>
    <dgm:cxn modelId="{9F950CD3-5C18-4F71-84FD-A00B938F7F30}" type="presParOf" srcId="{9DC1663B-56A5-442F-BD17-9AE3C0758CD0}" destId="{0652BC7E-7AFC-4631-9324-26B650C32B4C}" srcOrd="0" destOrd="0" presId="urn:microsoft.com/office/officeart/2005/8/layout/process4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8C96073C-4771-409B-8340-CCE6BD44682A}" type="doc">
      <dgm:prSet loTypeId="urn:microsoft.com/office/officeart/2005/8/layout/process4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152B0AF-3D2A-43F4-884E-701670E155FE}">
      <dgm:prSet phldrT="[Text]" custT="1">
        <dgm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sz="2400" b="1" dirty="0" smtClean="0">
              <a:latin typeface="Candara" pitchFamily="34" charset="0"/>
              <a:cs typeface="Aharoni" pitchFamily="2" charset="-79"/>
            </a:rPr>
            <a:t>Search Hotel</a:t>
          </a:r>
          <a:endParaRPr lang="en-US" sz="2400" b="1" dirty="0">
            <a:latin typeface="Candara" pitchFamily="34" charset="0"/>
            <a:cs typeface="Aharoni" pitchFamily="2" charset="-79"/>
          </a:endParaRPr>
        </a:p>
      </dgm:t>
    </dgm:pt>
    <dgm:pt modelId="{C24F1A67-583C-4DE7-9479-33AA13908660}" type="parTrans" cxnId="{E65190D7-5457-4727-80F7-22034A2263C4}">
      <dgm:prSet/>
      <dgm:spPr/>
      <dgm:t>
        <a:bodyPr/>
        <a:lstStyle/>
        <a:p>
          <a:endParaRPr lang="en-US"/>
        </a:p>
      </dgm:t>
    </dgm:pt>
    <dgm:pt modelId="{BE9F93BD-1795-4A6B-9300-E9757C720154}" type="sibTrans" cxnId="{E65190D7-5457-4727-80F7-22034A2263C4}">
      <dgm:prSet/>
      <dgm:spPr/>
      <dgm:t>
        <a:bodyPr/>
        <a:lstStyle/>
        <a:p>
          <a:endParaRPr lang="en-US"/>
        </a:p>
      </dgm:t>
    </dgm:pt>
    <dgm:pt modelId="{2F52A6E2-3EC7-41C6-899C-A9321BDC39F3}">
      <dgm:prSet phldrT="[Text]" custT="1">
        <dgm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sz="2400" b="1" dirty="0" smtClean="0">
              <a:latin typeface="Candara" pitchFamily="34" charset="0"/>
              <a:cs typeface="Aharoni" pitchFamily="2" charset="-79"/>
            </a:rPr>
            <a:t>Check Rooms</a:t>
          </a:r>
          <a:endParaRPr lang="en-US" sz="2400" b="1" dirty="0">
            <a:latin typeface="Candara" pitchFamily="34" charset="0"/>
            <a:cs typeface="Aharoni" pitchFamily="2" charset="-79"/>
          </a:endParaRPr>
        </a:p>
      </dgm:t>
    </dgm:pt>
    <dgm:pt modelId="{2124030A-C83E-4E2F-B321-F6352D9F9720}" type="parTrans" cxnId="{40D1003E-496C-42D4-A1FF-88F2CA7F6CE7}">
      <dgm:prSet/>
      <dgm:spPr/>
      <dgm:t>
        <a:bodyPr/>
        <a:lstStyle/>
        <a:p>
          <a:endParaRPr lang="en-US"/>
        </a:p>
      </dgm:t>
    </dgm:pt>
    <dgm:pt modelId="{81B627BF-2DB3-4BD6-A026-F0DFF329634B}" type="sibTrans" cxnId="{40D1003E-496C-42D4-A1FF-88F2CA7F6CE7}">
      <dgm:prSet/>
      <dgm:spPr/>
      <dgm:t>
        <a:bodyPr/>
        <a:lstStyle/>
        <a:p>
          <a:endParaRPr lang="en-US"/>
        </a:p>
      </dgm:t>
    </dgm:pt>
    <dgm:pt modelId="{EB9C0BEB-A914-4D37-9680-FF17BE80A7BC}">
      <dgm:prSet phldrT="[Text]" custT="1">
        <dgm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sz="2400" b="1" dirty="0" smtClean="0">
              <a:latin typeface="Candara" pitchFamily="34" charset="0"/>
              <a:cs typeface="Aharoni" pitchFamily="2" charset="-79"/>
            </a:rPr>
            <a:t>Book</a:t>
          </a:r>
          <a:r>
            <a:rPr lang="en-US" sz="2000" dirty="0" smtClean="0">
              <a:latin typeface="Candara" pitchFamily="34" charset="0"/>
            </a:rPr>
            <a:t> </a:t>
          </a:r>
          <a:r>
            <a:rPr lang="en-US" sz="2400" b="1" dirty="0" smtClean="0">
              <a:latin typeface="Candara" pitchFamily="34" charset="0"/>
              <a:cs typeface="Aharoni" pitchFamily="2" charset="-79"/>
            </a:rPr>
            <a:t>Rooms</a:t>
          </a:r>
          <a:endParaRPr lang="en-US" sz="2400" b="1" dirty="0">
            <a:latin typeface="Candara" pitchFamily="34" charset="0"/>
            <a:cs typeface="Aharoni" pitchFamily="2" charset="-79"/>
          </a:endParaRPr>
        </a:p>
      </dgm:t>
    </dgm:pt>
    <dgm:pt modelId="{06B6BC33-9ABA-4177-986A-91845B42D3F9}" type="parTrans" cxnId="{99CDDE1E-D2C1-4779-813E-FBAD055F33A7}">
      <dgm:prSet/>
      <dgm:spPr/>
      <dgm:t>
        <a:bodyPr/>
        <a:lstStyle/>
        <a:p>
          <a:endParaRPr lang="en-US"/>
        </a:p>
      </dgm:t>
    </dgm:pt>
    <dgm:pt modelId="{DCD20800-E5DA-461D-8756-BD40F856D7BF}" type="sibTrans" cxnId="{99CDDE1E-D2C1-4779-813E-FBAD055F33A7}">
      <dgm:prSet/>
      <dgm:spPr/>
      <dgm:t>
        <a:bodyPr/>
        <a:lstStyle/>
        <a:p>
          <a:endParaRPr lang="en-US"/>
        </a:p>
      </dgm:t>
    </dgm:pt>
    <dgm:pt modelId="{379FC270-4749-4E66-B9FA-D43C0C114303}">
      <dgm:prSet phldrT="[Text]">
        <dgm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b="1" dirty="0" smtClean="0">
              <a:latin typeface="Candara" pitchFamily="34" charset="0"/>
              <a:cs typeface="Aharoni" pitchFamily="2" charset="-79"/>
            </a:rPr>
            <a:t>Check Status</a:t>
          </a:r>
          <a:endParaRPr lang="en-US" b="1" dirty="0">
            <a:latin typeface="Candara" pitchFamily="34" charset="0"/>
            <a:cs typeface="Aharoni" pitchFamily="2" charset="-79"/>
          </a:endParaRPr>
        </a:p>
      </dgm:t>
    </dgm:pt>
    <dgm:pt modelId="{CEF8D93B-F18D-49AF-A6A9-24987154E6E7}" type="parTrans" cxnId="{122ECD01-88DB-46C7-8AD7-AFC8313B7D9E}">
      <dgm:prSet/>
      <dgm:spPr/>
      <dgm:t>
        <a:bodyPr/>
        <a:lstStyle/>
        <a:p>
          <a:endParaRPr lang="en-US"/>
        </a:p>
      </dgm:t>
    </dgm:pt>
    <dgm:pt modelId="{5B35CF93-D800-4126-ADC5-671139302670}" type="sibTrans" cxnId="{122ECD01-88DB-46C7-8AD7-AFC8313B7D9E}">
      <dgm:prSet/>
      <dgm:spPr/>
      <dgm:t>
        <a:bodyPr/>
        <a:lstStyle/>
        <a:p>
          <a:endParaRPr lang="en-US"/>
        </a:p>
      </dgm:t>
    </dgm:pt>
    <dgm:pt modelId="{D188C809-721D-467B-9F00-99FD90FAD66B}" type="pres">
      <dgm:prSet presAssocID="{8C96073C-4771-409B-8340-CCE6BD44682A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D013F4B0-CAA5-4978-84FC-6CE9618F6802}" type="pres">
      <dgm:prSet presAssocID="{379FC270-4749-4E66-B9FA-D43C0C114303}" presName="boxAndChildren" presStyleCnt="0"/>
      <dgm:spPr/>
    </dgm:pt>
    <dgm:pt modelId="{98CC0ACD-2046-4931-B75C-A6BAEB8B91E9}" type="pres">
      <dgm:prSet presAssocID="{379FC270-4749-4E66-B9FA-D43C0C114303}" presName="parentTextBox" presStyleLbl="node1" presStyleIdx="0" presStyleCnt="4" custScaleX="94981" custScaleY="15350" custLinFactNeighborX="-359" custLinFactNeighborY="-7188"/>
      <dgm:spPr/>
      <dgm:t>
        <a:bodyPr/>
        <a:lstStyle/>
        <a:p>
          <a:endParaRPr lang="en-US"/>
        </a:p>
      </dgm:t>
    </dgm:pt>
    <dgm:pt modelId="{6C1D04E7-E512-465C-A023-611EE25EE161}" type="pres">
      <dgm:prSet presAssocID="{DCD20800-E5DA-461D-8756-BD40F856D7BF}" presName="sp" presStyleCnt="0"/>
      <dgm:spPr/>
    </dgm:pt>
    <dgm:pt modelId="{46DD580C-89ED-4D55-BBFA-1FE3F6E68AD7}" type="pres">
      <dgm:prSet presAssocID="{EB9C0BEB-A914-4D37-9680-FF17BE80A7BC}" presName="arrowAndChildren" presStyleCnt="0"/>
      <dgm:spPr/>
    </dgm:pt>
    <dgm:pt modelId="{81B3D6AD-2D1D-474B-A4D5-3972420D28F3}" type="pres">
      <dgm:prSet presAssocID="{EB9C0BEB-A914-4D37-9680-FF17BE80A7BC}" presName="parentTextArrow" presStyleLbl="node1" presStyleIdx="1" presStyleCnt="4" custScaleX="94472" custScaleY="15858" custLinFactNeighborX="-463" custLinFactNeighborY="-4239"/>
      <dgm:spPr/>
      <dgm:t>
        <a:bodyPr/>
        <a:lstStyle/>
        <a:p>
          <a:endParaRPr lang="en-US"/>
        </a:p>
      </dgm:t>
    </dgm:pt>
    <dgm:pt modelId="{56E016A7-4D4D-4A29-BEF0-C876E2309190}" type="pres">
      <dgm:prSet presAssocID="{81B627BF-2DB3-4BD6-A026-F0DFF329634B}" presName="sp" presStyleCnt="0"/>
      <dgm:spPr/>
    </dgm:pt>
    <dgm:pt modelId="{054BE8FB-B42A-4961-97A8-4F2F2E598EAB}" type="pres">
      <dgm:prSet presAssocID="{2F52A6E2-3EC7-41C6-899C-A9321BDC39F3}" presName="arrowAndChildren" presStyleCnt="0"/>
      <dgm:spPr/>
    </dgm:pt>
    <dgm:pt modelId="{E3939F56-722C-42DF-A72E-296AD4711193}" type="pres">
      <dgm:prSet presAssocID="{2F52A6E2-3EC7-41C6-899C-A9321BDC39F3}" presName="parentTextArrow" presStyleLbl="node1" presStyleIdx="2" presStyleCnt="4" custScaleX="94621" custScaleY="17753" custLinFactNeighborX="-359" custLinFactNeighborY="-4211"/>
      <dgm:spPr/>
      <dgm:t>
        <a:bodyPr/>
        <a:lstStyle/>
        <a:p>
          <a:endParaRPr lang="en-US"/>
        </a:p>
      </dgm:t>
    </dgm:pt>
    <dgm:pt modelId="{86BB0CEF-AC5E-4F9F-855D-9DC279714D6A}" type="pres">
      <dgm:prSet presAssocID="{BE9F93BD-1795-4A6B-9300-E9757C720154}" presName="sp" presStyleCnt="0"/>
      <dgm:spPr/>
    </dgm:pt>
    <dgm:pt modelId="{9DC1663B-56A5-442F-BD17-9AE3C0758CD0}" type="pres">
      <dgm:prSet presAssocID="{C152B0AF-3D2A-43F4-884E-701670E155FE}" presName="arrowAndChildren" presStyleCnt="0"/>
      <dgm:spPr/>
    </dgm:pt>
    <dgm:pt modelId="{0652BC7E-7AFC-4631-9324-26B650C32B4C}" type="pres">
      <dgm:prSet presAssocID="{C152B0AF-3D2A-43F4-884E-701670E155FE}" presName="parentTextArrow" presStyleLbl="node1" presStyleIdx="3" presStyleCnt="4" custScaleX="94295" custScaleY="17174" custLinFactNeighborX="-343" custLinFactNeighborY="-7624"/>
      <dgm:spPr/>
      <dgm:t>
        <a:bodyPr/>
        <a:lstStyle/>
        <a:p>
          <a:endParaRPr lang="en-US"/>
        </a:p>
      </dgm:t>
    </dgm:pt>
  </dgm:ptLst>
  <dgm:cxnLst>
    <dgm:cxn modelId="{E9D83B57-2436-41C1-8E2C-677D96961519}" type="presOf" srcId="{2F52A6E2-3EC7-41C6-899C-A9321BDC39F3}" destId="{E3939F56-722C-42DF-A72E-296AD4711193}" srcOrd="0" destOrd="0" presId="urn:microsoft.com/office/officeart/2005/8/layout/process4"/>
    <dgm:cxn modelId="{E65190D7-5457-4727-80F7-22034A2263C4}" srcId="{8C96073C-4771-409B-8340-CCE6BD44682A}" destId="{C152B0AF-3D2A-43F4-884E-701670E155FE}" srcOrd="0" destOrd="0" parTransId="{C24F1A67-583C-4DE7-9479-33AA13908660}" sibTransId="{BE9F93BD-1795-4A6B-9300-E9757C720154}"/>
    <dgm:cxn modelId="{A503D7EF-A263-4F5D-B331-53AF61ADD489}" type="presOf" srcId="{C152B0AF-3D2A-43F4-884E-701670E155FE}" destId="{0652BC7E-7AFC-4631-9324-26B650C32B4C}" srcOrd="0" destOrd="0" presId="urn:microsoft.com/office/officeart/2005/8/layout/process4"/>
    <dgm:cxn modelId="{54E0828A-2AFC-4974-BAC1-98BF67293AC5}" type="presOf" srcId="{8C96073C-4771-409B-8340-CCE6BD44682A}" destId="{D188C809-721D-467B-9F00-99FD90FAD66B}" srcOrd="0" destOrd="0" presId="urn:microsoft.com/office/officeart/2005/8/layout/process4"/>
    <dgm:cxn modelId="{122ECD01-88DB-46C7-8AD7-AFC8313B7D9E}" srcId="{8C96073C-4771-409B-8340-CCE6BD44682A}" destId="{379FC270-4749-4E66-B9FA-D43C0C114303}" srcOrd="3" destOrd="0" parTransId="{CEF8D93B-F18D-49AF-A6A9-24987154E6E7}" sibTransId="{5B35CF93-D800-4126-ADC5-671139302670}"/>
    <dgm:cxn modelId="{51932B58-D62B-41DF-8FFB-C9F38F6D902E}" type="presOf" srcId="{379FC270-4749-4E66-B9FA-D43C0C114303}" destId="{98CC0ACD-2046-4931-B75C-A6BAEB8B91E9}" srcOrd="0" destOrd="0" presId="urn:microsoft.com/office/officeart/2005/8/layout/process4"/>
    <dgm:cxn modelId="{0D44B201-3D5C-4F19-8688-8332BF17F74A}" type="presOf" srcId="{EB9C0BEB-A914-4D37-9680-FF17BE80A7BC}" destId="{81B3D6AD-2D1D-474B-A4D5-3972420D28F3}" srcOrd="0" destOrd="0" presId="urn:microsoft.com/office/officeart/2005/8/layout/process4"/>
    <dgm:cxn modelId="{99CDDE1E-D2C1-4779-813E-FBAD055F33A7}" srcId="{8C96073C-4771-409B-8340-CCE6BD44682A}" destId="{EB9C0BEB-A914-4D37-9680-FF17BE80A7BC}" srcOrd="2" destOrd="0" parTransId="{06B6BC33-9ABA-4177-986A-91845B42D3F9}" sibTransId="{DCD20800-E5DA-461D-8756-BD40F856D7BF}"/>
    <dgm:cxn modelId="{40D1003E-496C-42D4-A1FF-88F2CA7F6CE7}" srcId="{8C96073C-4771-409B-8340-CCE6BD44682A}" destId="{2F52A6E2-3EC7-41C6-899C-A9321BDC39F3}" srcOrd="1" destOrd="0" parTransId="{2124030A-C83E-4E2F-B321-F6352D9F9720}" sibTransId="{81B627BF-2DB3-4BD6-A026-F0DFF329634B}"/>
    <dgm:cxn modelId="{1E8C75F8-AFCE-446F-9BA1-23E8148D9DE4}" type="presParOf" srcId="{D188C809-721D-467B-9F00-99FD90FAD66B}" destId="{D013F4B0-CAA5-4978-84FC-6CE9618F6802}" srcOrd="0" destOrd="0" presId="urn:microsoft.com/office/officeart/2005/8/layout/process4"/>
    <dgm:cxn modelId="{4D067FD3-076B-4F8A-BBBD-03EB4DC22CE1}" type="presParOf" srcId="{D013F4B0-CAA5-4978-84FC-6CE9618F6802}" destId="{98CC0ACD-2046-4931-B75C-A6BAEB8B91E9}" srcOrd="0" destOrd="0" presId="urn:microsoft.com/office/officeart/2005/8/layout/process4"/>
    <dgm:cxn modelId="{20105CF9-EC39-4750-A44B-9098045CF529}" type="presParOf" srcId="{D188C809-721D-467B-9F00-99FD90FAD66B}" destId="{6C1D04E7-E512-465C-A023-611EE25EE161}" srcOrd="1" destOrd="0" presId="urn:microsoft.com/office/officeart/2005/8/layout/process4"/>
    <dgm:cxn modelId="{C9F0AD02-5CF9-455A-8EF7-10FBD8A7D96F}" type="presParOf" srcId="{D188C809-721D-467B-9F00-99FD90FAD66B}" destId="{46DD580C-89ED-4D55-BBFA-1FE3F6E68AD7}" srcOrd="2" destOrd="0" presId="urn:microsoft.com/office/officeart/2005/8/layout/process4"/>
    <dgm:cxn modelId="{B7683989-431C-4D8A-BBEB-ECEB52155E37}" type="presParOf" srcId="{46DD580C-89ED-4D55-BBFA-1FE3F6E68AD7}" destId="{81B3D6AD-2D1D-474B-A4D5-3972420D28F3}" srcOrd="0" destOrd="0" presId="urn:microsoft.com/office/officeart/2005/8/layout/process4"/>
    <dgm:cxn modelId="{983E5C23-FBFD-4B9B-B3FE-1F79D3280D19}" type="presParOf" srcId="{D188C809-721D-467B-9F00-99FD90FAD66B}" destId="{56E016A7-4D4D-4A29-BEF0-C876E2309190}" srcOrd="3" destOrd="0" presId="urn:microsoft.com/office/officeart/2005/8/layout/process4"/>
    <dgm:cxn modelId="{C96C5950-1E4C-4068-8454-7EAA4FF9E991}" type="presParOf" srcId="{D188C809-721D-467B-9F00-99FD90FAD66B}" destId="{054BE8FB-B42A-4961-97A8-4F2F2E598EAB}" srcOrd="4" destOrd="0" presId="urn:microsoft.com/office/officeart/2005/8/layout/process4"/>
    <dgm:cxn modelId="{CEEAD4DE-63A4-4EF8-A42B-5807307239AF}" type="presParOf" srcId="{054BE8FB-B42A-4961-97A8-4F2F2E598EAB}" destId="{E3939F56-722C-42DF-A72E-296AD4711193}" srcOrd="0" destOrd="0" presId="urn:microsoft.com/office/officeart/2005/8/layout/process4"/>
    <dgm:cxn modelId="{44E0C6E7-DFB8-4F15-861C-A19135E34399}" type="presParOf" srcId="{D188C809-721D-467B-9F00-99FD90FAD66B}" destId="{86BB0CEF-AC5E-4F9F-855D-9DC279714D6A}" srcOrd="5" destOrd="0" presId="urn:microsoft.com/office/officeart/2005/8/layout/process4"/>
    <dgm:cxn modelId="{35735A93-AE01-49E1-866D-047BF4DF77C9}" type="presParOf" srcId="{D188C809-721D-467B-9F00-99FD90FAD66B}" destId="{9DC1663B-56A5-442F-BD17-9AE3C0758CD0}" srcOrd="6" destOrd="0" presId="urn:microsoft.com/office/officeart/2005/8/layout/process4"/>
    <dgm:cxn modelId="{AEB8652D-0E6B-4D06-97E0-100B2F873343}" type="presParOf" srcId="{9DC1663B-56A5-442F-BD17-9AE3C0758CD0}" destId="{0652BC7E-7AFC-4631-9324-26B650C32B4C}" srcOrd="0" destOrd="0" presId="urn:microsoft.com/office/officeart/2005/8/layout/process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60ECC06B-5545-48A8-8CBD-0D7860A8DE51}" type="doc">
      <dgm:prSet loTypeId="urn:microsoft.com/office/officeart/2005/8/layout/cycle6" loCatId="relationship" qsTypeId="urn:microsoft.com/office/officeart/2005/8/quickstyle/3d1" qsCatId="3D" csTypeId="urn:microsoft.com/office/officeart/2005/8/colors/colorful1#1" csCatId="colorful" phldr="1"/>
      <dgm:spPr/>
      <dgm:t>
        <a:bodyPr/>
        <a:lstStyle/>
        <a:p>
          <a:endParaRPr lang="en-US"/>
        </a:p>
      </dgm:t>
    </dgm:pt>
    <dgm:pt modelId="{4672D680-954F-4F33-9549-E3BC9436F046}">
      <dgm:prSet phldrT="[Text]"/>
      <dgm:spPr/>
      <dgm:t>
        <a:bodyPr/>
        <a:lstStyle/>
        <a:p>
          <a:r>
            <a:rPr lang="en-US" dirty="0" smtClean="0"/>
            <a:t>Add Hotel</a:t>
          </a:r>
          <a:endParaRPr lang="en-US" dirty="0"/>
        </a:p>
      </dgm:t>
    </dgm:pt>
    <dgm:pt modelId="{854CCE6E-8CFF-45F1-BC7F-ACEBC4B16ED7}" type="parTrans" cxnId="{0BB29421-A387-49E0-81DD-D3D06176F398}">
      <dgm:prSet/>
      <dgm:spPr/>
      <dgm:t>
        <a:bodyPr/>
        <a:lstStyle/>
        <a:p>
          <a:endParaRPr lang="en-US"/>
        </a:p>
      </dgm:t>
    </dgm:pt>
    <dgm:pt modelId="{9679BACF-C59A-414E-8223-A50A29EEF0D6}" type="sibTrans" cxnId="{0BB29421-A387-49E0-81DD-D3D06176F398}">
      <dgm:prSet/>
      <dgm:spPr/>
      <dgm:t>
        <a:bodyPr/>
        <a:lstStyle/>
        <a:p>
          <a:endParaRPr lang="en-US"/>
        </a:p>
      </dgm:t>
    </dgm:pt>
    <dgm:pt modelId="{A134F7F7-5A44-4486-B70C-49F8EFA05F8E}">
      <dgm:prSet phldrT="[Text]"/>
      <dgm:spPr/>
      <dgm:t>
        <a:bodyPr/>
        <a:lstStyle/>
        <a:p>
          <a:r>
            <a:rPr lang="en-US" dirty="0" smtClean="0"/>
            <a:t>Update Hotel</a:t>
          </a:r>
          <a:endParaRPr lang="en-US" dirty="0"/>
        </a:p>
      </dgm:t>
    </dgm:pt>
    <dgm:pt modelId="{DFB5AB33-DC4D-4939-B4EF-E3236E30A718}" type="parTrans" cxnId="{AE80B1ED-6AB9-4B22-A59D-1F73D099CBFC}">
      <dgm:prSet/>
      <dgm:spPr/>
      <dgm:t>
        <a:bodyPr/>
        <a:lstStyle/>
        <a:p>
          <a:endParaRPr lang="en-US"/>
        </a:p>
      </dgm:t>
    </dgm:pt>
    <dgm:pt modelId="{DB21F5AE-556B-431F-8B4C-1BD70427E827}" type="sibTrans" cxnId="{AE80B1ED-6AB9-4B22-A59D-1F73D099CBFC}">
      <dgm:prSet/>
      <dgm:spPr/>
      <dgm:t>
        <a:bodyPr/>
        <a:lstStyle/>
        <a:p>
          <a:endParaRPr lang="en-US"/>
        </a:p>
      </dgm:t>
    </dgm:pt>
    <dgm:pt modelId="{F3F457A1-8AD6-4DC4-9A9E-B7002FD41379}">
      <dgm:prSet phldrT="[Text]"/>
      <dgm:spPr/>
      <dgm:t>
        <a:bodyPr/>
        <a:lstStyle/>
        <a:p>
          <a:r>
            <a:rPr lang="en-US" dirty="0" smtClean="0"/>
            <a:t>Delete Hotel</a:t>
          </a:r>
          <a:endParaRPr lang="en-US" dirty="0"/>
        </a:p>
      </dgm:t>
    </dgm:pt>
    <dgm:pt modelId="{6523D339-32E3-44A8-9965-CCF5FBA3ACF4}" type="parTrans" cxnId="{9C638BE8-5A05-4862-9888-1F33FD5F1407}">
      <dgm:prSet/>
      <dgm:spPr/>
      <dgm:t>
        <a:bodyPr/>
        <a:lstStyle/>
        <a:p>
          <a:endParaRPr lang="en-US"/>
        </a:p>
      </dgm:t>
    </dgm:pt>
    <dgm:pt modelId="{829D04C9-B2CD-4174-9F1C-54DCD8D03896}" type="sibTrans" cxnId="{9C638BE8-5A05-4862-9888-1F33FD5F1407}">
      <dgm:prSet/>
      <dgm:spPr/>
      <dgm:t>
        <a:bodyPr/>
        <a:lstStyle/>
        <a:p>
          <a:endParaRPr lang="en-US"/>
        </a:p>
      </dgm:t>
    </dgm:pt>
    <dgm:pt modelId="{E349DCAB-8847-4D3D-87AD-1C61ADBC8A52}">
      <dgm:prSet phldrT="[Text]"/>
      <dgm:spPr/>
      <dgm:t>
        <a:bodyPr/>
        <a:lstStyle/>
        <a:p>
          <a:r>
            <a:rPr lang="en-US" dirty="0" smtClean="0"/>
            <a:t>View Hotel Booking Details</a:t>
          </a:r>
          <a:endParaRPr lang="en-US" dirty="0"/>
        </a:p>
      </dgm:t>
    </dgm:pt>
    <dgm:pt modelId="{513C505E-82EB-4995-B949-398BC4367CC5}" type="parTrans" cxnId="{1C0B71C3-634F-43C4-B6D3-2D6820A59A8C}">
      <dgm:prSet/>
      <dgm:spPr/>
      <dgm:t>
        <a:bodyPr/>
        <a:lstStyle/>
        <a:p>
          <a:endParaRPr lang="en-US"/>
        </a:p>
      </dgm:t>
    </dgm:pt>
    <dgm:pt modelId="{EEBE737F-AB5D-466F-8054-0B70B4002C8A}" type="sibTrans" cxnId="{1C0B71C3-634F-43C4-B6D3-2D6820A59A8C}">
      <dgm:prSet/>
      <dgm:spPr/>
      <dgm:t>
        <a:bodyPr/>
        <a:lstStyle/>
        <a:p>
          <a:endParaRPr lang="en-US"/>
        </a:p>
      </dgm:t>
    </dgm:pt>
    <dgm:pt modelId="{2AFA29A8-0CE4-4334-BAC3-ED696F85A1F5}">
      <dgm:prSet phldrT="[Text]"/>
      <dgm:spPr/>
      <dgm:t>
        <a:bodyPr/>
        <a:lstStyle/>
        <a:p>
          <a:r>
            <a:rPr lang="en-US" dirty="0" smtClean="0"/>
            <a:t>View all requested Hotel</a:t>
          </a:r>
          <a:endParaRPr lang="en-US" dirty="0"/>
        </a:p>
      </dgm:t>
    </dgm:pt>
    <dgm:pt modelId="{B31AC722-51E4-4015-AD58-72838B3B60C8}" type="parTrans" cxnId="{A25D3C7B-30C9-4CA7-854D-201602D3EEB2}">
      <dgm:prSet/>
      <dgm:spPr/>
      <dgm:t>
        <a:bodyPr/>
        <a:lstStyle/>
        <a:p>
          <a:endParaRPr lang="en-US"/>
        </a:p>
      </dgm:t>
    </dgm:pt>
    <dgm:pt modelId="{3A60F26F-677B-4428-98DD-8D91B6B8E541}" type="sibTrans" cxnId="{A25D3C7B-30C9-4CA7-854D-201602D3EEB2}">
      <dgm:prSet/>
      <dgm:spPr/>
      <dgm:t>
        <a:bodyPr/>
        <a:lstStyle/>
        <a:p>
          <a:endParaRPr lang="en-US"/>
        </a:p>
      </dgm:t>
    </dgm:pt>
    <dgm:pt modelId="{C132B34E-B87D-4A49-8D4B-F6AF83CF8E30}" type="pres">
      <dgm:prSet presAssocID="{60ECC06B-5545-48A8-8CBD-0D7860A8DE51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B06933BA-B50D-450B-AAEB-48170BE180DE}" type="pres">
      <dgm:prSet presAssocID="{4672D680-954F-4F33-9549-E3BC9436F046}" presName="node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D0B25A0C-A29D-4EF3-8A51-CF6F38B19D62}" type="pres">
      <dgm:prSet presAssocID="{4672D680-954F-4F33-9549-E3BC9436F046}" presName="spNode" presStyleCnt="0"/>
      <dgm:spPr/>
    </dgm:pt>
    <dgm:pt modelId="{5BC18BC3-3285-4E0F-84E5-A8A5D3D5D60C}" type="pres">
      <dgm:prSet presAssocID="{9679BACF-C59A-414E-8223-A50A29EEF0D6}" presName="sibTrans" presStyleLbl="sibTrans1D1" presStyleIdx="0" presStyleCnt="5"/>
      <dgm:spPr/>
      <dgm:t>
        <a:bodyPr/>
        <a:lstStyle/>
        <a:p>
          <a:endParaRPr lang="en-IN"/>
        </a:p>
      </dgm:t>
    </dgm:pt>
    <dgm:pt modelId="{C4B83BCD-2764-4641-900C-5D7261620F85}" type="pres">
      <dgm:prSet presAssocID="{A134F7F7-5A44-4486-B70C-49F8EFA05F8E}" presName="node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9D44C6E-0071-4EA6-878B-89900AC0731C}" type="pres">
      <dgm:prSet presAssocID="{A134F7F7-5A44-4486-B70C-49F8EFA05F8E}" presName="spNode" presStyleCnt="0"/>
      <dgm:spPr/>
    </dgm:pt>
    <dgm:pt modelId="{A78D3014-E6FD-44EF-AB38-E40CF7DF095D}" type="pres">
      <dgm:prSet presAssocID="{DB21F5AE-556B-431F-8B4C-1BD70427E827}" presName="sibTrans" presStyleLbl="sibTrans1D1" presStyleIdx="1" presStyleCnt="5"/>
      <dgm:spPr/>
      <dgm:t>
        <a:bodyPr/>
        <a:lstStyle/>
        <a:p>
          <a:endParaRPr lang="en-IN"/>
        </a:p>
      </dgm:t>
    </dgm:pt>
    <dgm:pt modelId="{8F947D2C-A264-4FDD-A879-DBA4E601822B}" type="pres">
      <dgm:prSet presAssocID="{F3F457A1-8AD6-4DC4-9A9E-B7002FD41379}" presName="node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1954AE9-6521-4B22-995A-D35295AD4851}" type="pres">
      <dgm:prSet presAssocID="{F3F457A1-8AD6-4DC4-9A9E-B7002FD41379}" presName="spNode" presStyleCnt="0"/>
      <dgm:spPr/>
    </dgm:pt>
    <dgm:pt modelId="{C222ABC2-F63F-48CE-ADEA-CA02BCA050D2}" type="pres">
      <dgm:prSet presAssocID="{829D04C9-B2CD-4174-9F1C-54DCD8D03896}" presName="sibTrans" presStyleLbl="sibTrans1D1" presStyleIdx="2" presStyleCnt="5"/>
      <dgm:spPr/>
      <dgm:t>
        <a:bodyPr/>
        <a:lstStyle/>
        <a:p>
          <a:endParaRPr lang="en-IN"/>
        </a:p>
      </dgm:t>
    </dgm:pt>
    <dgm:pt modelId="{EB3E9F18-E09C-425E-AEE4-D4BCE1DC9CB4}" type="pres">
      <dgm:prSet presAssocID="{E349DCAB-8847-4D3D-87AD-1C61ADBC8A52}" presName="node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88D5775-0369-4DC1-BF19-007CD02091D7}" type="pres">
      <dgm:prSet presAssocID="{E349DCAB-8847-4D3D-87AD-1C61ADBC8A52}" presName="spNode" presStyleCnt="0"/>
      <dgm:spPr/>
    </dgm:pt>
    <dgm:pt modelId="{68533FF6-BA62-4833-B97F-A594CA9C4906}" type="pres">
      <dgm:prSet presAssocID="{EEBE737F-AB5D-466F-8054-0B70B4002C8A}" presName="sibTrans" presStyleLbl="sibTrans1D1" presStyleIdx="3" presStyleCnt="5"/>
      <dgm:spPr/>
      <dgm:t>
        <a:bodyPr/>
        <a:lstStyle/>
        <a:p>
          <a:endParaRPr lang="en-IN"/>
        </a:p>
      </dgm:t>
    </dgm:pt>
    <dgm:pt modelId="{A40E9BA4-83CD-4DD8-9AE2-C89B45DBB0DD}" type="pres">
      <dgm:prSet presAssocID="{2AFA29A8-0CE4-4334-BAC3-ED696F85A1F5}" presName="node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55E6B08-8034-4C4F-ADFF-9D11E14C0FFB}" type="pres">
      <dgm:prSet presAssocID="{2AFA29A8-0CE4-4334-BAC3-ED696F85A1F5}" presName="spNode" presStyleCnt="0"/>
      <dgm:spPr/>
    </dgm:pt>
    <dgm:pt modelId="{15D0436F-1BDA-4538-AC5B-74FC13E3D07D}" type="pres">
      <dgm:prSet presAssocID="{3A60F26F-677B-4428-98DD-8D91B6B8E541}" presName="sibTrans" presStyleLbl="sibTrans1D1" presStyleIdx="4" presStyleCnt="5"/>
      <dgm:spPr/>
      <dgm:t>
        <a:bodyPr/>
        <a:lstStyle/>
        <a:p>
          <a:endParaRPr lang="en-IN"/>
        </a:p>
      </dgm:t>
    </dgm:pt>
  </dgm:ptLst>
  <dgm:cxnLst>
    <dgm:cxn modelId="{1C0B71C3-634F-43C4-B6D3-2D6820A59A8C}" srcId="{60ECC06B-5545-48A8-8CBD-0D7860A8DE51}" destId="{E349DCAB-8847-4D3D-87AD-1C61ADBC8A52}" srcOrd="3" destOrd="0" parTransId="{513C505E-82EB-4995-B949-398BC4367CC5}" sibTransId="{EEBE737F-AB5D-466F-8054-0B70B4002C8A}"/>
    <dgm:cxn modelId="{4147E6E4-B33E-46DB-9463-5150F27BD902}" type="presOf" srcId="{2AFA29A8-0CE4-4334-BAC3-ED696F85A1F5}" destId="{A40E9BA4-83CD-4DD8-9AE2-C89B45DBB0DD}" srcOrd="0" destOrd="0" presId="urn:microsoft.com/office/officeart/2005/8/layout/cycle6"/>
    <dgm:cxn modelId="{9C638BE8-5A05-4862-9888-1F33FD5F1407}" srcId="{60ECC06B-5545-48A8-8CBD-0D7860A8DE51}" destId="{F3F457A1-8AD6-4DC4-9A9E-B7002FD41379}" srcOrd="2" destOrd="0" parTransId="{6523D339-32E3-44A8-9965-CCF5FBA3ACF4}" sibTransId="{829D04C9-B2CD-4174-9F1C-54DCD8D03896}"/>
    <dgm:cxn modelId="{82999BE4-C77E-4263-B838-86703E6A35D5}" type="presOf" srcId="{9679BACF-C59A-414E-8223-A50A29EEF0D6}" destId="{5BC18BC3-3285-4E0F-84E5-A8A5D3D5D60C}" srcOrd="0" destOrd="0" presId="urn:microsoft.com/office/officeart/2005/8/layout/cycle6"/>
    <dgm:cxn modelId="{C14DCB11-C09F-4165-B1B0-6B9CD93F246A}" type="presOf" srcId="{4672D680-954F-4F33-9549-E3BC9436F046}" destId="{B06933BA-B50D-450B-AAEB-48170BE180DE}" srcOrd="0" destOrd="0" presId="urn:microsoft.com/office/officeart/2005/8/layout/cycle6"/>
    <dgm:cxn modelId="{9DB21A0B-9DEF-414E-AAC8-7AFEB0B3BEEF}" type="presOf" srcId="{60ECC06B-5545-48A8-8CBD-0D7860A8DE51}" destId="{C132B34E-B87D-4A49-8D4B-F6AF83CF8E30}" srcOrd="0" destOrd="0" presId="urn:microsoft.com/office/officeart/2005/8/layout/cycle6"/>
    <dgm:cxn modelId="{0BB29421-A387-49E0-81DD-D3D06176F398}" srcId="{60ECC06B-5545-48A8-8CBD-0D7860A8DE51}" destId="{4672D680-954F-4F33-9549-E3BC9436F046}" srcOrd="0" destOrd="0" parTransId="{854CCE6E-8CFF-45F1-BC7F-ACEBC4B16ED7}" sibTransId="{9679BACF-C59A-414E-8223-A50A29EEF0D6}"/>
    <dgm:cxn modelId="{A4C60E09-331D-4453-8CCD-3D0358F53CF8}" type="presOf" srcId="{3A60F26F-677B-4428-98DD-8D91B6B8E541}" destId="{15D0436F-1BDA-4538-AC5B-74FC13E3D07D}" srcOrd="0" destOrd="0" presId="urn:microsoft.com/office/officeart/2005/8/layout/cycle6"/>
    <dgm:cxn modelId="{A25D3C7B-30C9-4CA7-854D-201602D3EEB2}" srcId="{60ECC06B-5545-48A8-8CBD-0D7860A8DE51}" destId="{2AFA29A8-0CE4-4334-BAC3-ED696F85A1F5}" srcOrd="4" destOrd="0" parTransId="{B31AC722-51E4-4015-AD58-72838B3B60C8}" sibTransId="{3A60F26F-677B-4428-98DD-8D91B6B8E541}"/>
    <dgm:cxn modelId="{D4522383-BCA2-4347-A746-163D73212A59}" type="presOf" srcId="{F3F457A1-8AD6-4DC4-9A9E-B7002FD41379}" destId="{8F947D2C-A264-4FDD-A879-DBA4E601822B}" srcOrd="0" destOrd="0" presId="urn:microsoft.com/office/officeart/2005/8/layout/cycle6"/>
    <dgm:cxn modelId="{CE62E164-8AA6-4387-8491-1F61EC197FBE}" type="presOf" srcId="{EEBE737F-AB5D-466F-8054-0B70B4002C8A}" destId="{68533FF6-BA62-4833-B97F-A594CA9C4906}" srcOrd="0" destOrd="0" presId="urn:microsoft.com/office/officeart/2005/8/layout/cycle6"/>
    <dgm:cxn modelId="{BD51F9D4-D6DF-4F9E-AE44-065015A837BD}" type="presOf" srcId="{A134F7F7-5A44-4486-B70C-49F8EFA05F8E}" destId="{C4B83BCD-2764-4641-900C-5D7261620F85}" srcOrd="0" destOrd="0" presId="urn:microsoft.com/office/officeart/2005/8/layout/cycle6"/>
    <dgm:cxn modelId="{AE80B1ED-6AB9-4B22-A59D-1F73D099CBFC}" srcId="{60ECC06B-5545-48A8-8CBD-0D7860A8DE51}" destId="{A134F7F7-5A44-4486-B70C-49F8EFA05F8E}" srcOrd="1" destOrd="0" parTransId="{DFB5AB33-DC4D-4939-B4EF-E3236E30A718}" sibTransId="{DB21F5AE-556B-431F-8B4C-1BD70427E827}"/>
    <dgm:cxn modelId="{3725969A-B81C-4897-AB13-837A81B19257}" type="presOf" srcId="{DB21F5AE-556B-431F-8B4C-1BD70427E827}" destId="{A78D3014-E6FD-44EF-AB38-E40CF7DF095D}" srcOrd="0" destOrd="0" presId="urn:microsoft.com/office/officeart/2005/8/layout/cycle6"/>
    <dgm:cxn modelId="{74BCBCCB-253D-4A4F-85EB-517C2AA67591}" type="presOf" srcId="{829D04C9-B2CD-4174-9F1C-54DCD8D03896}" destId="{C222ABC2-F63F-48CE-ADEA-CA02BCA050D2}" srcOrd="0" destOrd="0" presId="urn:microsoft.com/office/officeart/2005/8/layout/cycle6"/>
    <dgm:cxn modelId="{7A524EF4-A16F-4E93-B967-3D15AE4966B7}" type="presOf" srcId="{E349DCAB-8847-4D3D-87AD-1C61ADBC8A52}" destId="{EB3E9F18-E09C-425E-AEE4-D4BCE1DC9CB4}" srcOrd="0" destOrd="0" presId="urn:microsoft.com/office/officeart/2005/8/layout/cycle6"/>
    <dgm:cxn modelId="{C8209E00-32C7-492A-AD98-1CFBD5AB4077}" type="presParOf" srcId="{C132B34E-B87D-4A49-8D4B-F6AF83CF8E30}" destId="{B06933BA-B50D-450B-AAEB-48170BE180DE}" srcOrd="0" destOrd="0" presId="urn:microsoft.com/office/officeart/2005/8/layout/cycle6"/>
    <dgm:cxn modelId="{20E3BDA2-BF7C-4E2A-B5EB-84053955E6BF}" type="presParOf" srcId="{C132B34E-B87D-4A49-8D4B-F6AF83CF8E30}" destId="{D0B25A0C-A29D-4EF3-8A51-CF6F38B19D62}" srcOrd="1" destOrd="0" presId="urn:microsoft.com/office/officeart/2005/8/layout/cycle6"/>
    <dgm:cxn modelId="{D78A2F26-9563-4792-9AFE-615AE9CE8E4B}" type="presParOf" srcId="{C132B34E-B87D-4A49-8D4B-F6AF83CF8E30}" destId="{5BC18BC3-3285-4E0F-84E5-A8A5D3D5D60C}" srcOrd="2" destOrd="0" presId="urn:microsoft.com/office/officeart/2005/8/layout/cycle6"/>
    <dgm:cxn modelId="{7B0BE3EC-0A15-4280-92A0-2927A5DBEDC5}" type="presParOf" srcId="{C132B34E-B87D-4A49-8D4B-F6AF83CF8E30}" destId="{C4B83BCD-2764-4641-900C-5D7261620F85}" srcOrd="3" destOrd="0" presId="urn:microsoft.com/office/officeart/2005/8/layout/cycle6"/>
    <dgm:cxn modelId="{383161CB-C6BD-410A-8350-CF945414382D}" type="presParOf" srcId="{C132B34E-B87D-4A49-8D4B-F6AF83CF8E30}" destId="{59D44C6E-0071-4EA6-878B-89900AC0731C}" srcOrd="4" destOrd="0" presId="urn:microsoft.com/office/officeart/2005/8/layout/cycle6"/>
    <dgm:cxn modelId="{EDADD468-DA60-4BA7-A01D-4A63DD8EB822}" type="presParOf" srcId="{C132B34E-B87D-4A49-8D4B-F6AF83CF8E30}" destId="{A78D3014-E6FD-44EF-AB38-E40CF7DF095D}" srcOrd="5" destOrd="0" presId="urn:microsoft.com/office/officeart/2005/8/layout/cycle6"/>
    <dgm:cxn modelId="{65ADA767-9BC5-4070-97A5-66DF06382C69}" type="presParOf" srcId="{C132B34E-B87D-4A49-8D4B-F6AF83CF8E30}" destId="{8F947D2C-A264-4FDD-A879-DBA4E601822B}" srcOrd="6" destOrd="0" presId="urn:microsoft.com/office/officeart/2005/8/layout/cycle6"/>
    <dgm:cxn modelId="{6F911B7B-9A4F-4A7E-88EA-71F4B6A5EC5E}" type="presParOf" srcId="{C132B34E-B87D-4A49-8D4B-F6AF83CF8E30}" destId="{31954AE9-6521-4B22-995A-D35295AD4851}" srcOrd="7" destOrd="0" presId="urn:microsoft.com/office/officeart/2005/8/layout/cycle6"/>
    <dgm:cxn modelId="{E53111E7-59FD-405B-AB62-FF0DA83B75EB}" type="presParOf" srcId="{C132B34E-B87D-4A49-8D4B-F6AF83CF8E30}" destId="{C222ABC2-F63F-48CE-ADEA-CA02BCA050D2}" srcOrd="8" destOrd="0" presId="urn:microsoft.com/office/officeart/2005/8/layout/cycle6"/>
    <dgm:cxn modelId="{B403C1E5-5ACD-443E-BF97-F9D3B9DE0108}" type="presParOf" srcId="{C132B34E-B87D-4A49-8D4B-F6AF83CF8E30}" destId="{EB3E9F18-E09C-425E-AEE4-D4BCE1DC9CB4}" srcOrd="9" destOrd="0" presId="urn:microsoft.com/office/officeart/2005/8/layout/cycle6"/>
    <dgm:cxn modelId="{B2B3B350-1AC4-4EBE-825F-418F77777DDD}" type="presParOf" srcId="{C132B34E-B87D-4A49-8D4B-F6AF83CF8E30}" destId="{488D5775-0369-4DC1-BF19-007CD02091D7}" srcOrd="10" destOrd="0" presId="urn:microsoft.com/office/officeart/2005/8/layout/cycle6"/>
    <dgm:cxn modelId="{09139B15-86FA-4E55-985B-02531CFBCD7C}" type="presParOf" srcId="{C132B34E-B87D-4A49-8D4B-F6AF83CF8E30}" destId="{68533FF6-BA62-4833-B97F-A594CA9C4906}" srcOrd="11" destOrd="0" presId="urn:microsoft.com/office/officeart/2005/8/layout/cycle6"/>
    <dgm:cxn modelId="{8723610C-DAFF-4609-922B-3A5D747C258D}" type="presParOf" srcId="{C132B34E-B87D-4A49-8D4B-F6AF83CF8E30}" destId="{A40E9BA4-83CD-4DD8-9AE2-C89B45DBB0DD}" srcOrd="12" destOrd="0" presId="urn:microsoft.com/office/officeart/2005/8/layout/cycle6"/>
    <dgm:cxn modelId="{2674F48D-0135-46A4-81B4-7810665709A3}" type="presParOf" srcId="{C132B34E-B87D-4A49-8D4B-F6AF83CF8E30}" destId="{F55E6B08-8034-4C4F-ADFF-9D11E14C0FFB}" srcOrd="13" destOrd="0" presId="urn:microsoft.com/office/officeart/2005/8/layout/cycle6"/>
    <dgm:cxn modelId="{D5645044-2FF0-4CB6-B477-0BF8C2636853}" type="presParOf" srcId="{C132B34E-B87D-4A49-8D4B-F6AF83CF8E30}" destId="{15D0436F-1BDA-4538-AC5B-74FC13E3D07D}" srcOrd="14" destOrd="0" presId="urn:microsoft.com/office/officeart/2005/8/layout/cycle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BCAD4941-3F16-47EA-B69F-FD4B007807EF}" type="doc">
      <dgm:prSet loTypeId="urn:microsoft.com/office/officeart/2008/layout/RadialCluster" loCatId="cycle" qsTypeId="urn:microsoft.com/office/officeart/2005/8/quickstyle/3d1" qsCatId="3D" csTypeId="urn:microsoft.com/office/officeart/2005/8/colors/colorful1#2" csCatId="colorful" phldr="1"/>
      <dgm:spPr/>
      <dgm:t>
        <a:bodyPr/>
        <a:lstStyle/>
        <a:p>
          <a:endParaRPr lang="en-US"/>
        </a:p>
      </dgm:t>
    </dgm:pt>
    <dgm:pt modelId="{2985B183-AEAF-4C5A-8645-DBB3428C34DC}">
      <dgm:prSet phldrT="[Text]"/>
      <dgm:spPr/>
      <dgm:t>
        <a:bodyPr/>
        <a:lstStyle/>
        <a:p>
          <a:r>
            <a:rPr lang="en-US" dirty="0" smtClean="0"/>
            <a:t>USER</a:t>
          </a:r>
          <a:endParaRPr lang="en-US" dirty="0"/>
        </a:p>
      </dgm:t>
    </dgm:pt>
    <dgm:pt modelId="{EBB0883E-BAE1-407B-8391-BDD3FD7B7228}" type="parTrans" cxnId="{AB4D0411-39D1-4944-8B38-50488F9B523F}">
      <dgm:prSet/>
      <dgm:spPr/>
      <dgm:t>
        <a:bodyPr/>
        <a:lstStyle/>
        <a:p>
          <a:endParaRPr lang="en-US"/>
        </a:p>
      </dgm:t>
    </dgm:pt>
    <dgm:pt modelId="{0E514BE4-F0D7-4091-B157-A0819F19561A}" type="sibTrans" cxnId="{AB4D0411-39D1-4944-8B38-50488F9B523F}">
      <dgm:prSet/>
      <dgm:spPr/>
      <dgm:t>
        <a:bodyPr/>
        <a:lstStyle/>
        <a:p>
          <a:endParaRPr lang="en-US"/>
        </a:p>
      </dgm:t>
    </dgm:pt>
    <dgm:pt modelId="{CB3A87C1-E358-453D-9BC2-3D52CEADCD1B}">
      <dgm:prSet phldrT="[Text]"/>
      <dgm:spPr/>
      <dgm:t>
        <a:bodyPr/>
        <a:lstStyle/>
        <a:p>
          <a:r>
            <a:rPr lang="en-US" dirty="0" smtClean="0"/>
            <a:t>Searching for Hotel</a:t>
          </a:r>
          <a:endParaRPr lang="en-US" dirty="0"/>
        </a:p>
      </dgm:t>
    </dgm:pt>
    <dgm:pt modelId="{2D5BC093-640D-44A2-96C7-489FEAD7B058}" type="parTrans" cxnId="{6D8F45C4-2B6B-4938-A095-0564FC5669ED}">
      <dgm:prSet/>
      <dgm:spPr/>
      <dgm:t>
        <a:bodyPr/>
        <a:lstStyle/>
        <a:p>
          <a:endParaRPr lang="en-US"/>
        </a:p>
      </dgm:t>
    </dgm:pt>
    <dgm:pt modelId="{AF0A7172-F0A8-433B-8813-CED791A716FA}" type="sibTrans" cxnId="{6D8F45C4-2B6B-4938-A095-0564FC5669ED}">
      <dgm:prSet/>
      <dgm:spPr/>
      <dgm:t>
        <a:bodyPr/>
        <a:lstStyle/>
        <a:p>
          <a:endParaRPr lang="en-US"/>
        </a:p>
      </dgm:t>
    </dgm:pt>
    <dgm:pt modelId="{C4BB266F-0D0B-4299-821B-F843191582B5}">
      <dgm:prSet phldrT="[Text]"/>
      <dgm:spPr/>
      <dgm:t>
        <a:bodyPr/>
        <a:lstStyle/>
        <a:p>
          <a:r>
            <a:rPr lang="en-US" dirty="0" smtClean="0"/>
            <a:t>Book a Hotel</a:t>
          </a:r>
          <a:endParaRPr lang="en-US" dirty="0"/>
        </a:p>
      </dgm:t>
    </dgm:pt>
    <dgm:pt modelId="{820E724F-E832-4FF1-A319-3451B5079CD8}" type="parTrans" cxnId="{A3AAD277-D15A-4E34-B114-B3B6A211AC47}">
      <dgm:prSet/>
      <dgm:spPr/>
      <dgm:t>
        <a:bodyPr/>
        <a:lstStyle/>
        <a:p>
          <a:endParaRPr lang="en-US"/>
        </a:p>
      </dgm:t>
    </dgm:pt>
    <dgm:pt modelId="{2F1E0D23-8E3A-40C1-8EF7-B12E3DBEF3D1}" type="sibTrans" cxnId="{A3AAD277-D15A-4E34-B114-B3B6A211AC47}">
      <dgm:prSet/>
      <dgm:spPr/>
      <dgm:t>
        <a:bodyPr/>
        <a:lstStyle/>
        <a:p>
          <a:endParaRPr lang="en-US"/>
        </a:p>
      </dgm:t>
    </dgm:pt>
    <dgm:pt modelId="{FE3252C0-91F6-4475-9E7E-1A434D9F2E82}" type="pres">
      <dgm:prSet presAssocID="{BCAD4941-3F16-47EA-B69F-FD4B007807EF}" presName="Name0" presStyleCnt="0">
        <dgm:presLayoutVars>
          <dgm:chMax val="1"/>
          <dgm:chPref val="1"/>
          <dgm:dir/>
          <dgm:animOne val="branch"/>
          <dgm:animLvl val="lvl"/>
        </dgm:presLayoutVars>
      </dgm:prSet>
      <dgm:spPr/>
      <dgm:t>
        <a:bodyPr/>
        <a:lstStyle/>
        <a:p>
          <a:endParaRPr lang="en-IN"/>
        </a:p>
      </dgm:t>
    </dgm:pt>
    <dgm:pt modelId="{0AFC3CE7-8FF3-4766-BDCE-7360E2BBF0C7}" type="pres">
      <dgm:prSet presAssocID="{2985B183-AEAF-4C5A-8645-DBB3428C34DC}" presName="singleCycle" presStyleCnt="0"/>
      <dgm:spPr/>
    </dgm:pt>
    <dgm:pt modelId="{AC7753AD-1FB5-43E8-8137-BBD858C7A74F}" type="pres">
      <dgm:prSet presAssocID="{2985B183-AEAF-4C5A-8645-DBB3428C34DC}" presName="singleCenter" presStyleLbl="node1" presStyleIdx="0" presStyleCnt="3" custScaleX="167665" custScaleY="120890">
        <dgm:presLayoutVars>
          <dgm:chMax val="7"/>
          <dgm:chPref val="7"/>
        </dgm:presLayoutVars>
      </dgm:prSet>
      <dgm:spPr/>
      <dgm:t>
        <a:bodyPr/>
        <a:lstStyle/>
        <a:p>
          <a:endParaRPr lang="en-IN"/>
        </a:p>
      </dgm:t>
    </dgm:pt>
    <dgm:pt modelId="{A161CF3E-6D45-47F1-86D3-F40EB4B4BB77}" type="pres">
      <dgm:prSet presAssocID="{2D5BC093-640D-44A2-96C7-489FEAD7B058}" presName="Name56" presStyleLbl="parChTrans1D2" presStyleIdx="0" presStyleCnt="2"/>
      <dgm:spPr/>
      <dgm:t>
        <a:bodyPr/>
        <a:lstStyle/>
        <a:p>
          <a:endParaRPr lang="en-IN"/>
        </a:p>
      </dgm:t>
    </dgm:pt>
    <dgm:pt modelId="{2E2FD32C-0004-4DA7-BA37-CEB1E212A665}" type="pres">
      <dgm:prSet presAssocID="{CB3A87C1-E358-453D-9BC2-3D52CEADCD1B}" presName="text0" presStyleLbl="node1" presStyleIdx="1" presStyleCnt="3" custScaleX="179850" custScaleY="118661" custRadScaleRad="162644" custRadScaleInc="-11661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6A5053F6-9FDE-40FE-B299-DFE8EB891001}" type="pres">
      <dgm:prSet presAssocID="{820E724F-E832-4FF1-A319-3451B5079CD8}" presName="Name56" presStyleLbl="parChTrans1D2" presStyleIdx="1" presStyleCnt="2"/>
      <dgm:spPr/>
      <dgm:t>
        <a:bodyPr/>
        <a:lstStyle/>
        <a:p>
          <a:endParaRPr lang="en-IN"/>
        </a:p>
      </dgm:t>
    </dgm:pt>
    <dgm:pt modelId="{F149A267-CF74-41DA-9A4E-448EAA887BEF}" type="pres">
      <dgm:prSet presAssocID="{C4BB266F-0D0B-4299-821B-F843191582B5}" presName="text0" presStyleLbl="node1" presStyleIdx="2" presStyleCnt="3" custScaleX="164882" custScaleY="113546" custRadScaleRad="163562" custRadScaleInc="-84003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AB4D0411-39D1-4944-8B38-50488F9B523F}" srcId="{BCAD4941-3F16-47EA-B69F-FD4B007807EF}" destId="{2985B183-AEAF-4C5A-8645-DBB3428C34DC}" srcOrd="0" destOrd="0" parTransId="{EBB0883E-BAE1-407B-8391-BDD3FD7B7228}" sibTransId="{0E514BE4-F0D7-4091-B157-A0819F19561A}"/>
    <dgm:cxn modelId="{6D8F45C4-2B6B-4938-A095-0564FC5669ED}" srcId="{2985B183-AEAF-4C5A-8645-DBB3428C34DC}" destId="{CB3A87C1-E358-453D-9BC2-3D52CEADCD1B}" srcOrd="0" destOrd="0" parTransId="{2D5BC093-640D-44A2-96C7-489FEAD7B058}" sibTransId="{AF0A7172-F0A8-433B-8813-CED791A716FA}"/>
    <dgm:cxn modelId="{B94D8374-C0B3-406F-A024-F63C428E0951}" type="presOf" srcId="{C4BB266F-0D0B-4299-821B-F843191582B5}" destId="{F149A267-CF74-41DA-9A4E-448EAA887BEF}" srcOrd="0" destOrd="0" presId="urn:microsoft.com/office/officeart/2008/layout/RadialCluster"/>
    <dgm:cxn modelId="{9FFC13C5-7B22-4C32-88D1-870C07562369}" type="presOf" srcId="{BCAD4941-3F16-47EA-B69F-FD4B007807EF}" destId="{FE3252C0-91F6-4475-9E7E-1A434D9F2E82}" srcOrd="0" destOrd="0" presId="urn:microsoft.com/office/officeart/2008/layout/RadialCluster"/>
    <dgm:cxn modelId="{57926608-EF6A-46BB-98C4-97B107BA4A8C}" type="presOf" srcId="{CB3A87C1-E358-453D-9BC2-3D52CEADCD1B}" destId="{2E2FD32C-0004-4DA7-BA37-CEB1E212A665}" srcOrd="0" destOrd="0" presId="urn:microsoft.com/office/officeart/2008/layout/RadialCluster"/>
    <dgm:cxn modelId="{51F388A8-58B4-436D-99C4-F0FDE4B01C16}" type="presOf" srcId="{820E724F-E832-4FF1-A319-3451B5079CD8}" destId="{6A5053F6-9FDE-40FE-B299-DFE8EB891001}" srcOrd="0" destOrd="0" presId="urn:microsoft.com/office/officeart/2008/layout/RadialCluster"/>
    <dgm:cxn modelId="{79FEA0E4-6138-4096-9F6F-5CE79188458B}" type="presOf" srcId="{2D5BC093-640D-44A2-96C7-489FEAD7B058}" destId="{A161CF3E-6D45-47F1-86D3-F40EB4B4BB77}" srcOrd="0" destOrd="0" presId="urn:microsoft.com/office/officeart/2008/layout/RadialCluster"/>
    <dgm:cxn modelId="{A3AAD277-D15A-4E34-B114-B3B6A211AC47}" srcId="{2985B183-AEAF-4C5A-8645-DBB3428C34DC}" destId="{C4BB266F-0D0B-4299-821B-F843191582B5}" srcOrd="1" destOrd="0" parTransId="{820E724F-E832-4FF1-A319-3451B5079CD8}" sibTransId="{2F1E0D23-8E3A-40C1-8EF7-B12E3DBEF3D1}"/>
    <dgm:cxn modelId="{6FBBEE07-DF9F-44AE-B73F-C102E9E59A39}" type="presOf" srcId="{2985B183-AEAF-4C5A-8645-DBB3428C34DC}" destId="{AC7753AD-1FB5-43E8-8137-BBD858C7A74F}" srcOrd="0" destOrd="0" presId="urn:microsoft.com/office/officeart/2008/layout/RadialCluster"/>
    <dgm:cxn modelId="{B71F69B5-5F97-4D45-BD31-89C8358E8F05}" type="presParOf" srcId="{FE3252C0-91F6-4475-9E7E-1A434D9F2E82}" destId="{0AFC3CE7-8FF3-4766-BDCE-7360E2BBF0C7}" srcOrd="0" destOrd="0" presId="urn:microsoft.com/office/officeart/2008/layout/RadialCluster"/>
    <dgm:cxn modelId="{4494A18C-0EA0-465F-AEBB-C00453E8C79F}" type="presParOf" srcId="{0AFC3CE7-8FF3-4766-BDCE-7360E2BBF0C7}" destId="{AC7753AD-1FB5-43E8-8137-BBD858C7A74F}" srcOrd="0" destOrd="0" presId="urn:microsoft.com/office/officeart/2008/layout/RadialCluster"/>
    <dgm:cxn modelId="{9622B70C-E378-48C1-ADE0-677DB2488639}" type="presParOf" srcId="{0AFC3CE7-8FF3-4766-BDCE-7360E2BBF0C7}" destId="{A161CF3E-6D45-47F1-86D3-F40EB4B4BB77}" srcOrd="1" destOrd="0" presId="urn:microsoft.com/office/officeart/2008/layout/RadialCluster"/>
    <dgm:cxn modelId="{DEDC12EF-FD31-4C89-9563-1B3E65FB8DE2}" type="presParOf" srcId="{0AFC3CE7-8FF3-4766-BDCE-7360E2BBF0C7}" destId="{2E2FD32C-0004-4DA7-BA37-CEB1E212A665}" srcOrd="2" destOrd="0" presId="urn:microsoft.com/office/officeart/2008/layout/RadialCluster"/>
    <dgm:cxn modelId="{6DEA66C6-4CF7-432B-BBD9-074F67755CCC}" type="presParOf" srcId="{0AFC3CE7-8FF3-4766-BDCE-7360E2BBF0C7}" destId="{6A5053F6-9FDE-40FE-B299-DFE8EB891001}" srcOrd="3" destOrd="0" presId="urn:microsoft.com/office/officeart/2008/layout/RadialCluster"/>
    <dgm:cxn modelId="{FC1F3B21-06AA-4313-81FA-ECD89D120B4A}" type="presParOf" srcId="{0AFC3CE7-8FF3-4766-BDCE-7360E2BBF0C7}" destId="{F149A267-CF74-41DA-9A4E-448EAA887BEF}" srcOrd="4" destOrd="0" presId="urn:microsoft.com/office/officeart/2008/layout/RadialCluster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1" qsCatId="3D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File Handling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pPr algn="l"/>
          <a:r>
            <a:rPr lang="en-US" dirty="0" smtClean="0"/>
            <a:t>Storage of information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108756" custLinFactNeighborX="1348" custLinFactNeighborY="27325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90A45C1D-EEC5-4ACC-9D62-F227FAC9BD86}" type="presOf" srcId="{0BD08EE0-BF9E-4795-9B77-0FBE4D9C3FAA}" destId="{E5C0A0C3-950D-4232-9872-9174C1E989AA}" srcOrd="0" destOrd="0" presId="urn:microsoft.com/office/officeart/2005/8/layout/vList2"/>
    <dgm:cxn modelId="{FB8594FD-D3B9-4F17-911A-DFB6E40B46A7}" type="presOf" srcId="{528F3EA0-FF05-41BA-8D3E-F7B5C76FE089}" destId="{1C2747ED-0D77-4E6D-821C-76CAEE91064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0D2FD4C6-94C9-4BAB-8B82-56D1A305B7B7}" type="presOf" srcId="{66487DD0-4D79-4180-AB81-B361B4FACE09}" destId="{B9ED2192-F917-4BE7-A6BE-813D7F382554}" srcOrd="0" destOrd="0" presId="urn:microsoft.com/office/officeart/2005/8/layout/vList2"/>
    <dgm:cxn modelId="{A57550D8-2A9A-43C8-93C6-974AF4172E56}" type="presParOf" srcId="{B9ED2192-F917-4BE7-A6BE-813D7F382554}" destId="{1C2747ED-0D77-4E6D-821C-76CAEE910644}" srcOrd="0" destOrd="0" presId="urn:microsoft.com/office/officeart/2005/8/layout/vList2"/>
    <dgm:cxn modelId="{1740B090-EE3F-4190-B829-61DB8F984EF7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1" qsCatId="3D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Query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 custT="1"/>
      <dgm:spPr/>
      <dgm:t>
        <a:bodyPr/>
        <a:lstStyle/>
        <a:p>
          <a:r>
            <a:rPr lang="en-US" sz="2000" dirty="0" smtClean="0"/>
            <a:t>improvement</a:t>
          </a:r>
          <a:r>
            <a:rPr lang="en-US" sz="1300" dirty="0" smtClean="0"/>
            <a:t>s</a:t>
          </a:r>
          <a:endParaRPr lang="en-US" sz="1300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62803" custLinFactY="-12537" custLinFactNeighborY="-100000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 custLinFactNeighborX="-10345" custLinFactNeighborY="3120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374E730C-BC99-43A8-86AB-44A30775C4F1}" type="presOf" srcId="{0BD08EE0-BF9E-4795-9B77-0FBE4D9C3FAA}" destId="{E5C0A0C3-950D-4232-9872-9174C1E989AA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257610C1-9850-4600-8FA1-B7FBC36F4BFD}" type="presOf" srcId="{66487DD0-4D79-4180-AB81-B361B4FACE09}" destId="{B9ED2192-F917-4BE7-A6BE-813D7F382554}" srcOrd="0" destOrd="0" presId="urn:microsoft.com/office/officeart/2005/8/layout/vList2"/>
    <dgm:cxn modelId="{12FA67FC-4AD0-477D-B3A3-8E9B6D2D1997}" type="presOf" srcId="{528F3EA0-FF05-41BA-8D3E-F7B5C76FE089}" destId="{1C2747ED-0D77-4E6D-821C-76CAEE910644}" srcOrd="0" destOrd="0" presId="urn:microsoft.com/office/officeart/2005/8/layout/vList2"/>
    <dgm:cxn modelId="{DE151C98-89FF-4E67-A12C-804E764360D2}" type="presParOf" srcId="{B9ED2192-F917-4BE7-A6BE-813D7F382554}" destId="{1C2747ED-0D77-4E6D-821C-76CAEE910644}" srcOrd="0" destOrd="0" presId="urn:microsoft.com/office/officeart/2005/8/layout/vList2"/>
    <dgm:cxn modelId="{7F1CCC8A-8879-4B50-9588-D786FBFCAE6D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1" qsCatId="3D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Error Handling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consistency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131053" custLinFactY="-199999" custLinFactNeighborX="459" custLinFactNeighborY="-200000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632EDB97-459C-48DD-AC49-98B80F57BFAB}" type="presOf" srcId="{0BD08EE0-BF9E-4795-9B77-0FBE4D9C3FAA}" destId="{E5C0A0C3-950D-4232-9872-9174C1E989AA}" srcOrd="0" destOrd="0" presId="urn:microsoft.com/office/officeart/2005/8/layout/vList2"/>
    <dgm:cxn modelId="{AAADB207-7EB8-4BEA-A48A-19E33BE0A2F2}" type="presOf" srcId="{528F3EA0-FF05-41BA-8D3E-F7B5C76FE089}" destId="{1C2747ED-0D77-4E6D-821C-76CAEE91064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6E625504-32D1-460B-BC7A-53AB7518C07E}" type="presOf" srcId="{66487DD0-4D79-4180-AB81-B361B4FACE09}" destId="{B9ED2192-F917-4BE7-A6BE-813D7F382554}" srcOrd="0" destOrd="0" presId="urn:microsoft.com/office/officeart/2005/8/layout/vList2"/>
    <dgm:cxn modelId="{7EA8E9EE-FFEF-4A80-B3FF-6434CB1F90E0}" type="presParOf" srcId="{B9ED2192-F917-4BE7-A6BE-813D7F382554}" destId="{1C2747ED-0D77-4E6D-821C-76CAEE910644}" srcOrd="0" destOrd="0" presId="urn:microsoft.com/office/officeart/2005/8/layout/vList2"/>
    <dgm:cxn modelId="{8DCE0117-6405-4EB9-9001-EB5A7DFCEAEA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1" qsCatId="3D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System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Minimum specifications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LinFactNeighborY="-66989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8A3DC9D9-4BEB-4E34-B499-202FE15E164E}" type="presOf" srcId="{528F3EA0-FF05-41BA-8D3E-F7B5C76FE089}" destId="{1C2747ED-0D77-4E6D-821C-76CAEE910644}" srcOrd="0" destOrd="0" presId="urn:microsoft.com/office/officeart/2005/8/layout/vList2"/>
    <dgm:cxn modelId="{F5BE7BB3-5833-4BFB-AF2F-AAD7B1048CE3}" type="presOf" srcId="{0BD08EE0-BF9E-4795-9B77-0FBE4D9C3FAA}" destId="{E5C0A0C3-950D-4232-9872-9174C1E989AA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C55D127D-5BBB-4DF9-85E7-12B5ECC2E4F7}" type="presOf" srcId="{66487DD0-4D79-4180-AB81-B361B4FACE09}" destId="{B9ED2192-F917-4BE7-A6BE-813D7F382554}" srcOrd="0" destOrd="0" presId="urn:microsoft.com/office/officeart/2005/8/layout/vList2"/>
    <dgm:cxn modelId="{31091C72-E4DB-4142-918C-2689B6BF66D6}" type="presParOf" srcId="{B9ED2192-F917-4BE7-A6BE-813D7F382554}" destId="{1C2747ED-0D77-4E6D-821C-76CAEE910644}" srcOrd="0" destOrd="0" presId="urn:microsoft.com/office/officeart/2005/8/layout/vList2"/>
    <dgm:cxn modelId="{4BEAE68D-0CDA-447F-B1CC-FA8DA6B4F5BC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2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424DD0C-4CF0-43BC-B084-693FCDF8F553}">
      <dsp:nvSpPr>
        <dsp:cNvPr id="0" name=""/>
        <dsp:cNvSpPr/>
      </dsp:nvSpPr>
      <dsp:spPr>
        <a:xfrm>
          <a:off x="1385" y="2835217"/>
          <a:ext cx="1813285" cy="906642"/>
        </a:xfrm>
        <a:prstGeom prst="roundRect">
          <a:avLst>
            <a:gd name="adj" fmla="val 10000"/>
          </a:avLst>
        </a:prstGeom>
        <a:solidFill>
          <a:schemeClr val="accent4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b="1" kern="1200" dirty="0" smtClean="0">
              <a:latin typeface="Candara" pitchFamily="34" charset="0"/>
            </a:rPr>
            <a:t>Admin</a:t>
          </a:r>
          <a:endParaRPr lang="en-US" sz="2800" b="1" kern="1200" dirty="0">
            <a:latin typeface="Candara" pitchFamily="34" charset="0"/>
          </a:endParaRPr>
        </a:p>
      </dsp:txBody>
      <dsp:txXfrm>
        <a:off x="27940" y="2861772"/>
        <a:ext cx="1760175" cy="853532"/>
      </dsp:txXfrm>
    </dsp:sp>
    <dsp:sp modelId="{FD87950B-4E8F-4C74-BDD6-4E61F5B5C7D8}">
      <dsp:nvSpPr>
        <dsp:cNvPr id="0" name=""/>
        <dsp:cNvSpPr/>
      </dsp:nvSpPr>
      <dsp:spPr>
        <a:xfrm rot="17666906">
          <a:off x="1282177" y="2446760"/>
          <a:ext cx="1816991" cy="29487"/>
        </a:xfrm>
        <a:custGeom>
          <a:avLst/>
          <a:gdLst/>
          <a:ahLst/>
          <a:cxnLst/>
          <a:rect l="0" t="0" r="0" b="0"/>
          <a:pathLst>
            <a:path>
              <a:moveTo>
                <a:pt x="0" y="14743"/>
              </a:moveTo>
              <a:lnTo>
                <a:pt x="1816991" y="14743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600" kern="1200"/>
        </a:p>
      </dsp:txBody>
      <dsp:txXfrm>
        <a:off x="2145248" y="2416079"/>
        <a:ext cx="90849" cy="90849"/>
      </dsp:txXfrm>
    </dsp:sp>
    <dsp:sp modelId="{7F54B4CC-114B-48C7-B079-06621F228BC3}">
      <dsp:nvSpPr>
        <dsp:cNvPr id="0" name=""/>
        <dsp:cNvSpPr/>
      </dsp:nvSpPr>
      <dsp:spPr>
        <a:xfrm>
          <a:off x="2566676" y="1181147"/>
          <a:ext cx="1813285" cy="906642"/>
        </a:xfrm>
        <a:prstGeom prst="roundRect">
          <a:avLst>
            <a:gd name="adj" fmla="val 10000"/>
          </a:avLst>
        </a:prstGeom>
        <a:solidFill>
          <a:schemeClr val="accent6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b="1" kern="1200" dirty="0" smtClean="0">
              <a:latin typeface="Candara" pitchFamily="34" charset="0"/>
            </a:rPr>
            <a:t>Add</a:t>
          </a:r>
          <a:endParaRPr lang="en-US" sz="2800" b="1" kern="1200" dirty="0">
            <a:latin typeface="Candara" pitchFamily="34" charset="0"/>
          </a:endParaRPr>
        </a:p>
      </dsp:txBody>
      <dsp:txXfrm>
        <a:off x="2593231" y="1207702"/>
        <a:ext cx="1760175" cy="853532"/>
      </dsp:txXfrm>
    </dsp:sp>
    <dsp:sp modelId="{64695E6B-5FF3-43F8-93E3-AD0B55F654C8}">
      <dsp:nvSpPr>
        <dsp:cNvPr id="0" name=""/>
        <dsp:cNvSpPr/>
      </dsp:nvSpPr>
      <dsp:spPr>
        <a:xfrm rot="18213867">
          <a:off x="4104590" y="1106543"/>
          <a:ext cx="1231739" cy="29487"/>
        </a:xfrm>
        <a:custGeom>
          <a:avLst/>
          <a:gdLst/>
          <a:ahLst/>
          <a:cxnLst/>
          <a:rect l="0" t="0" r="0" b="0"/>
          <a:pathLst>
            <a:path>
              <a:moveTo>
                <a:pt x="0" y="14743"/>
              </a:moveTo>
              <a:lnTo>
                <a:pt x="1231739" y="14743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4689667" y="1090493"/>
        <a:ext cx="61586" cy="61586"/>
      </dsp:txXfrm>
    </dsp:sp>
    <dsp:sp modelId="{0E70CBDB-9D50-43FF-BC64-8691A0DD4EE1}">
      <dsp:nvSpPr>
        <dsp:cNvPr id="0" name=""/>
        <dsp:cNvSpPr/>
      </dsp:nvSpPr>
      <dsp:spPr>
        <a:xfrm>
          <a:off x="5060959" y="154782"/>
          <a:ext cx="3266796" cy="906642"/>
        </a:xfrm>
        <a:prstGeom prst="roundRect">
          <a:avLst>
            <a:gd name="adj" fmla="val 10000"/>
          </a:avLst>
        </a:prstGeom>
        <a:solidFill>
          <a:schemeClr val="tx2">
            <a:lumMod val="20000"/>
            <a:lumOff val="8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lvl="0" algn="ctr" defTabSz="2489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600" kern="1200" dirty="0"/>
        </a:p>
      </dsp:txBody>
      <dsp:txXfrm>
        <a:off x="5087514" y="181337"/>
        <a:ext cx="3213686" cy="853532"/>
      </dsp:txXfrm>
    </dsp:sp>
    <dsp:sp modelId="{AC82F56E-5807-4071-A513-7343A085905E}">
      <dsp:nvSpPr>
        <dsp:cNvPr id="0" name=""/>
        <dsp:cNvSpPr/>
      </dsp:nvSpPr>
      <dsp:spPr>
        <a:xfrm rot="622844">
          <a:off x="4373307" y="1692982"/>
          <a:ext cx="813112" cy="29487"/>
        </a:xfrm>
        <a:custGeom>
          <a:avLst/>
          <a:gdLst/>
          <a:ahLst/>
          <a:cxnLst/>
          <a:rect l="0" t="0" r="0" b="0"/>
          <a:pathLst>
            <a:path>
              <a:moveTo>
                <a:pt x="0" y="14743"/>
              </a:moveTo>
              <a:lnTo>
                <a:pt x="813112" y="14743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4759536" y="1687398"/>
        <a:ext cx="40655" cy="40655"/>
      </dsp:txXfrm>
    </dsp:sp>
    <dsp:sp modelId="{7FC77114-16CF-4451-9B00-156846E6D638}">
      <dsp:nvSpPr>
        <dsp:cNvPr id="0" name=""/>
        <dsp:cNvSpPr/>
      </dsp:nvSpPr>
      <dsp:spPr>
        <a:xfrm>
          <a:off x="5179765" y="1327661"/>
          <a:ext cx="3336155" cy="906642"/>
        </a:xfrm>
        <a:prstGeom prst="roundRect">
          <a:avLst>
            <a:gd name="adj" fmla="val 10000"/>
          </a:avLst>
        </a:prstGeom>
        <a:solidFill>
          <a:schemeClr val="tx2">
            <a:lumMod val="20000"/>
            <a:lumOff val="8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lvl="0" algn="ctr" defTabSz="2489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600" kern="1200" dirty="0"/>
        </a:p>
      </dsp:txBody>
      <dsp:txXfrm>
        <a:off x="5206320" y="1354216"/>
        <a:ext cx="3283045" cy="853532"/>
      </dsp:txXfrm>
    </dsp:sp>
    <dsp:sp modelId="{6A3CF635-21F9-41DB-89F7-334E54D1122C}">
      <dsp:nvSpPr>
        <dsp:cNvPr id="0" name=""/>
        <dsp:cNvSpPr/>
      </dsp:nvSpPr>
      <dsp:spPr>
        <a:xfrm rot="3536276">
          <a:off x="4052524" y="2199201"/>
          <a:ext cx="1352953" cy="29487"/>
        </a:xfrm>
        <a:custGeom>
          <a:avLst/>
          <a:gdLst/>
          <a:ahLst/>
          <a:cxnLst/>
          <a:rect l="0" t="0" r="0" b="0"/>
          <a:pathLst>
            <a:path>
              <a:moveTo>
                <a:pt x="0" y="14743"/>
              </a:moveTo>
              <a:lnTo>
                <a:pt x="1352953" y="14743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4695177" y="2180121"/>
        <a:ext cx="67647" cy="67647"/>
      </dsp:txXfrm>
    </dsp:sp>
    <dsp:sp modelId="{BAA03515-FF7D-49BC-9865-D8A9FAE629BB}">
      <dsp:nvSpPr>
        <dsp:cNvPr id="0" name=""/>
        <dsp:cNvSpPr/>
      </dsp:nvSpPr>
      <dsp:spPr>
        <a:xfrm>
          <a:off x="5078040" y="2340100"/>
          <a:ext cx="3530629" cy="906642"/>
        </a:xfrm>
        <a:prstGeom prst="roundRect">
          <a:avLst>
            <a:gd name="adj" fmla="val 10000"/>
          </a:avLst>
        </a:prstGeom>
        <a:solidFill>
          <a:schemeClr val="tx2">
            <a:lumMod val="20000"/>
            <a:lumOff val="8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lvl="0" algn="ctr" defTabSz="2489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600" kern="1200" dirty="0"/>
        </a:p>
      </dsp:txBody>
      <dsp:txXfrm>
        <a:off x="5104595" y="2366655"/>
        <a:ext cx="3477519" cy="853532"/>
      </dsp:txXfrm>
    </dsp:sp>
    <dsp:sp modelId="{20E08445-CEA1-4B13-B0A1-55ECF1453D26}">
      <dsp:nvSpPr>
        <dsp:cNvPr id="0" name=""/>
        <dsp:cNvSpPr/>
      </dsp:nvSpPr>
      <dsp:spPr>
        <a:xfrm rot="857790">
          <a:off x="1802227" y="3373013"/>
          <a:ext cx="803583" cy="29487"/>
        </a:xfrm>
        <a:custGeom>
          <a:avLst/>
          <a:gdLst/>
          <a:ahLst/>
          <a:cxnLst/>
          <a:rect l="0" t="0" r="0" b="0"/>
          <a:pathLst>
            <a:path>
              <a:moveTo>
                <a:pt x="0" y="14743"/>
              </a:moveTo>
              <a:lnTo>
                <a:pt x="803583" y="14743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2183929" y="3367667"/>
        <a:ext cx="40179" cy="40179"/>
      </dsp:txXfrm>
    </dsp:sp>
    <dsp:sp modelId="{07475B80-5E8B-48F3-8957-8808AB0FCA62}">
      <dsp:nvSpPr>
        <dsp:cNvPr id="0" name=""/>
        <dsp:cNvSpPr/>
      </dsp:nvSpPr>
      <dsp:spPr>
        <a:xfrm>
          <a:off x="2593368" y="3033654"/>
          <a:ext cx="1813285" cy="906642"/>
        </a:xfrm>
        <a:prstGeom prst="roundRect">
          <a:avLst>
            <a:gd name="adj" fmla="val 10000"/>
          </a:avLst>
        </a:prstGeom>
        <a:solidFill>
          <a:schemeClr val="accent6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b="1" kern="1200" smtClean="0">
              <a:latin typeface="Candara" pitchFamily="34" charset="0"/>
            </a:rPr>
            <a:t>Update</a:t>
          </a:r>
          <a:endParaRPr lang="en-US" sz="2800" b="1" kern="1200" dirty="0">
            <a:latin typeface="Candara" pitchFamily="34" charset="0"/>
          </a:endParaRPr>
        </a:p>
      </dsp:txBody>
      <dsp:txXfrm>
        <a:off x="2619923" y="3060209"/>
        <a:ext cx="1760175" cy="853532"/>
      </dsp:txXfrm>
    </dsp:sp>
    <dsp:sp modelId="{A639F305-37F7-4B70-9908-5F6F0D858380}">
      <dsp:nvSpPr>
        <dsp:cNvPr id="0" name=""/>
        <dsp:cNvSpPr/>
      </dsp:nvSpPr>
      <dsp:spPr>
        <a:xfrm rot="976029">
          <a:off x="4372032" y="3714473"/>
          <a:ext cx="1729576" cy="29487"/>
        </a:xfrm>
        <a:custGeom>
          <a:avLst/>
          <a:gdLst/>
          <a:ahLst/>
          <a:cxnLst/>
          <a:rect l="0" t="0" r="0" b="0"/>
          <a:pathLst>
            <a:path>
              <a:moveTo>
                <a:pt x="0" y="14743"/>
              </a:moveTo>
              <a:lnTo>
                <a:pt x="1729576" y="14743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600" kern="1200"/>
        </a:p>
      </dsp:txBody>
      <dsp:txXfrm>
        <a:off x="5193581" y="3685977"/>
        <a:ext cx="86478" cy="86478"/>
      </dsp:txXfrm>
    </dsp:sp>
    <dsp:sp modelId="{C7A2A90B-5EF3-4246-B9EF-8F34C4121B75}">
      <dsp:nvSpPr>
        <dsp:cNvPr id="0" name=""/>
        <dsp:cNvSpPr/>
      </dsp:nvSpPr>
      <dsp:spPr>
        <a:xfrm>
          <a:off x="6066988" y="3518137"/>
          <a:ext cx="1813285" cy="906642"/>
        </a:xfrm>
        <a:prstGeom prst="roundRect">
          <a:avLst>
            <a:gd name="adj" fmla="val 10000"/>
          </a:avLst>
        </a:prstGeom>
        <a:solidFill>
          <a:schemeClr val="tx2">
            <a:lumMod val="20000"/>
            <a:lumOff val="8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lvl="0" algn="ctr" defTabSz="2489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600" kern="1200" dirty="0"/>
        </a:p>
      </dsp:txBody>
      <dsp:txXfrm>
        <a:off x="6093543" y="3544692"/>
        <a:ext cx="1760175" cy="853532"/>
      </dsp:txXfrm>
    </dsp:sp>
    <dsp:sp modelId="{272A0943-0322-47DF-966B-D649E405F93C}">
      <dsp:nvSpPr>
        <dsp:cNvPr id="0" name=""/>
        <dsp:cNvSpPr/>
      </dsp:nvSpPr>
      <dsp:spPr>
        <a:xfrm rot="3729614">
          <a:off x="1384949" y="3986711"/>
          <a:ext cx="1612462" cy="29487"/>
        </a:xfrm>
        <a:custGeom>
          <a:avLst/>
          <a:gdLst/>
          <a:ahLst/>
          <a:cxnLst/>
          <a:rect l="0" t="0" r="0" b="0"/>
          <a:pathLst>
            <a:path>
              <a:moveTo>
                <a:pt x="0" y="14743"/>
              </a:moveTo>
              <a:lnTo>
                <a:pt x="1612462" y="14743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2150869" y="3961143"/>
        <a:ext cx="80623" cy="80623"/>
      </dsp:txXfrm>
    </dsp:sp>
    <dsp:sp modelId="{CFC22410-DAE8-4192-B271-6971B6DEF6F5}">
      <dsp:nvSpPr>
        <dsp:cNvPr id="0" name=""/>
        <dsp:cNvSpPr/>
      </dsp:nvSpPr>
      <dsp:spPr>
        <a:xfrm>
          <a:off x="2567692" y="4261049"/>
          <a:ext cx="1813285" cy="906642"/>
        </a:xfrm>
        <a:prstGeom prst="roundRect">
          <a:avLst>
            <a:gd name="adj" fmla="val 10000"/>
          </a:avLst>
        </a:prstGeom>
        <a:solidFill>
          <a:schemeClr val="accent6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b="1" kern="1200" dirty="0" smtClean="0">
              <a:latin typeface="Candara" pitchFamily="34" charset="0"/>
            </a:rPr>
            <a:t>Delete</a:t>
          </a:r>
          <a:endParaRPr lang="en-US" sz="2800" b="1" kern="1200" dirty="0">
            <a:latin typeface="Candara" pitchFamily="34" charset="0"/>
          </a:endParaRPr>
        </a:p>
      </dsp:txBody>
      <dsp:txXfrm>
        <a:off x="2594247" y="4287604"/>
        <a:ext cx="1760175" cy="853532"/>
      </dsp:txXfrm>
    </dsp:sp>
    <dsp:sp modelId="{090DA268-5E02-4278-AC6D-CE8440B87EF1}">
      <dsp:nvSpPr>
        <dsp:cNvPr id="0" name=""/>
        <dsp:cNvSpPr/>
      </dsp:nvSpPr>
      <dsp:spPr>
        <a:xfrm rot="725588">
          <a:off x="4361553" y="4883000"/>
          <a:ext cx="1750571" cy="29487"/>
        </a:xfrm>
        <a:custGeom>
          <a:avLst/>
          <a:gdLst/>
          <a:ahLst/>
          <a:cxnLst/>
          <a:rect l="0" t="0" r="0" b="0"/>
          <a:pathLst>
            <a:path>
              <a:moveTo>
                <a:pt x="0" y="14743"/>
              </a:moveTo>
              <a:lnTo>
                <a:pt x="1750571" y="14743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600" kern="1200"/>
        </a:p>
      </dsp:txBody>
      <dsp:txXfrm>
        <a:off x="5193074" y="4853979"/>
        <a:ext cx="87528" cy="87528"/>
      </dsp:txXfrm>
    </dsp:sp>
    <dsp:sp modelId="{C757D30D-E0C4-4BDA-8118-DDF238262DEC}">
      <dsp:nvSpPr>
        <dsp:cNvPr id="0" name=""/>
        <dsp:cNvSpPr/>
      </dsp:nvSpPr>
      <dsp:spPr>
        <a:xfrm>
          <a:off x="6092700" y="4627796"/>
          <a:ext cx="1813285" cy="906642"/>
        </a:xfrm>
        <a:prstGeom prst="roundRect">
          <a:avLst>
            <a:gd name="adj" fmla="val 10000"/>
          </a:avLst>
        </a:prstGeom>
        <a:solidFill>
          <a:schemeClr val="tx2">
            <a:lumMod val="20000"/>
            <a:lumOff val="8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lvl="0" algn="ctr" defTabSz="2489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600" kern="1200" dirty="0"/>
        </a:p>
      </dsp:txBody>
      <dsp:txXfrm>
        <a:off x="6119255" y="4654351"/>
        <a:ext cx="1760175" cy="853532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100342"/>
          <a:ext cx="1904999" cy="647594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lvl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700" kern="1200" dirty="0" smtClean="0"/>
            <a:t>Invocation</a:t>
          </a:r>
          <a:endParaRPr lang="en-US" sz="2700" kern="1200" dirty="0"/>
        </a:p>
      </dsp:txBody>
      <dsp:txXfrm>
        <a:off x="31613" y="131955"/>
        <a:ext cx="1841773" cy="584368"/>
      </dsp:txXfrm>
    </dsp:sp>
    <dsp:sp modelId="{E5C0A0C3-950D-4232-9872-9174C1E989AA}">
      <dsp:nvSpPr>
        <dsp:cNvPr id="0" name=""/>
        <dsp:cNvSpPr/>
      </dsp:nvSpPr>
      <dsp:spPr>
        <a:xfrm>
          <a:off x="0" y="747937"/>
          <a:ext cx="1904999" cy="44711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4290" rIns="192024" bIns="34290" numCol="1" spcCol="1270" anchor="t" anchorCtr="0">
          <a:noAutofit/>
        </a:bodyPr>
        <a:lstStyle/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100" kern="1200" dirty="0" smtClean="0"/>
            <a:t>Start process</a:t>
          </a:r>
          <a:endParaRPr lang="en-US" sz="2100" kern="1200" dirty="0"/>
        </a:p>
      </dsp:txBody>
      <dsp:txXfrm>
        <a:off x="0" y="747937"/>
        <a:ext cx="1904999" cy="447119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0"/>
          <a:ext cx="1904999" cy="64260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lvl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500" kern="1200" dirty="0" smtClean="0"/>
            <a:t>Termination</a:t>
          </a:r>
          <a:endParaRPr lang="en-US" sz="2500" kern="1200" dirty="0"/>
        </a:p>
      </dsp:txBody>
      <dsp:txXfrm>
        <a:off x="31369" y="31369"/>
        <a:ext cx="1842261" cy="579862"/>
      </dsp:txXfrm>
    </dsp:sp>
    <dsp:sp modelId="{E5C0A0C3-950D-4232-9872-9174C1E989AA}">
      <dsp:nvSpPr>
        <dsp:cNvPr id="0" name=""/>
        <dsp:cNvSpPr/>
      </dsp:nvSpPr>
      <dsp:spPr>
        <a:xfrm>
          <a:off x="0" y="647700"/>
          <a:ext cx="1904999" cy="414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1750" rIns="177800" bIns="3175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000" kern="1200" dirty="0" smtClean="0"/>
            <a:t>End process</a:t>
          </a:r>
          <a:endParaRPr lang="en-US" sz="2000" kern="1200" dirty="0"/>
        </a:p>
      </dsp:txBody>
      <dsp:txXfrm>
        <a:off x="0" y="647700"/>
        <a:ext cx="1904999" cy="414000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411003"/>
          <a:ext cx="1904999" cy="579598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Implicit</a:t>
          </a:r>
          <a:endParaRPr lang="en-US" sz="2400" kern="1200" dirty="0"/>
        </a:p>
      </dsp:txBody>
      <dsp:txXfrm>
        <a:off x="28294" y="439297"/>
        <a:ext cx="1848411" cy="523010"/>
      </dsp:txXfrm>
    </dsp:sp>
    <dsp:sp modelId="{E5C0A0C3-950D-4232-9872-9174C1E989AA}">
      <dsp:nvSpPr>
        <dsp:cNvPr id="0" name=""/>
        <dsp:cNvSpPr/>
      </dsp:nvSpPr>
      <dsp:spPr>
        <a:xfrm>
          <a:off x="0" y="647699"/>
          <a:ext cx="1904999" cy="5796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0480" rIns="170688" bIns="30480" numCol="1" spcCol="1270" anchor="t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900" kern="1200" dirty="0" smtClean="0"/>
            <a:t>Efficiency </a:t>
          </a:r>
          <a:endParaRPr lang="en-US" sz="1900" kern="1200" dirty="0"/>
        </a:p>
      </dsp:txBody>
      <dsp:txXfrm>
        <a:off x="0" y="647699"/>
        <a:ext cx="1904999" cy="579600"/>
      </dsp:txXfrm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304800"/>
          <a:ext cx="1904999" cy="62361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lvl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kern="1200" dirty="0" smtClean="0"/>
            <a:t>Explicit</a:t>
          </a:r>
          <a:endParaRPr lang="en-US" sz="2600" kern="1200" dirty="0"/>
        </a:p>
      </dsp:txBody>
      <dsp:txXfrm>
        <a:off x="30442" y="335242"/>
        <a:ext cx="1844115" cy="562726"/>
      </dsp:txXfrm>
    </dsp:sp>
    <dsp:sp modelId="{E5C0A0C3-950D-4232-9872-9174C1E989AA}">
      <dsp:nvSpPr>
        <dsp:cNvPr id="0" name=""/>
        <dsp:cNvSpPr/>
      </dsp:nvSpPr>
      <dsp:spPr>
        <a:xfrm>
          <a:off x="0" y="643312"/>
          <a:ext cx="1904999" cy="63238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3020" rIns="184912" bIns="3302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000" kern="1200" dirty="0" smtClean="0"/>
            <a:t>User specified</a:t>
          </a:r>
          <a:endParaRPr lang="en-US" sz="2000" kern="1200" dirty="0"/>
        </a:p>
      </dsp:txBody>
      <dsp:txXfrm>
        <a:off x="0" y="643312"/>
        <a:ext cx="1904999" cy="632385"/>
      </dsp:txXfrm>
    </dsp:sp>
  </dsp:spTree>
</dsp:drawing>
</file>

<file path=ppt/diagrams/drawing1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228599"/>
          <a:ext cx="1904999" cy="455072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 smtClean="0"/>
            <a:t>Security</a:t>
          </a:r>
          <a:endParaRPr lang="en-US" sz="1900" kern="1200" dirty="0"/>
        </a:p>
      </dsp:txBody>
      <dsp:txXfrm>
        <a:off x="22215" y="250814"/>
        <a:ext cx="1860569" cy="410642"/>
      </dsp:txXfrm>
    </dsp:sp>
    <dsp:sp modelId="{E5C0A0C3-950D-4232-9872-9174C1E989AA}">
      <dsp:nvSpPr>
        <dsp:cNvPr id="0" name=""/>
        <dsp:cNvSpPr/>
      </dsp:nvSpPr>
      <dsp:spPr>
        <a:xfrm>
          <a:off x="0" y="699239"/>
          <a:ext cx="1904999" cy="5961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24130" rIns="135128" bIns="24130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500" kern="1200" dirty="0" smtClean="0"/>
            <a:t>For confidentiality</a:t>
          </a:r>
          <a:endParaRPr lang="en-US" sz="1500" kern="1200" dirty="0"/>
        </a:p>
      </dsp:txBody>
      <dsp:txXfrm>
        <a:off x="0" y="699239"/>
        <a:ext cx="1904999" cy="59616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8CC0ACD-2046-4931-B75C-A6BAEB8B91E9}">
      <dsp:nvSpPr>
        <dsp:cNvPr id="0" name=""/>
        <dsp:cNvSpPr/>
      </dsp:nvSpPr>
      <dsp:spPr>
        <a:xfrm>
          <a:off x="161751" y="2574573"/>
          <a:ext cx="7144067" cy="548964"/>
        </a:xfrm>
        <a:prstGeom prst="rect">
          <a:avLst/>
        </a:prstGeom>
        <a:gradFill rotWithShape="1">
          <a:gsLst>
            <a:gs pos="0">
              <a:schemeClr val="accent1">
                <a:shade val="51000"/>
                <a:satMod val="130000"/>
              </a:schemeClr>
            </a:gs>
            <a:gs pos="80000">
              <a:schemeClr val="accent1">
                <a:shade val="93000"/>
                <a:satMod val="130000"/>
              </a:schemeClr>
            </a:gs>
            <a:gs pos="100000">
              <a:schemeClr val="accent1"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1"/>
        </a:lnRef>
        <a:fillRef idx="3">
          <a:schemeClr val="accent1"/>
        </a:fillRef>
        <a:effectRef idx="3">
          <a:schemeClr val="accent1"/>
        </a:effectRef>
        <a:fontRef idx="minor">
          <a:schemeClr val="lt1"/>
        </a:fontRef>
      </dsp:style>
      <dsp:txBody>
        <a:bodyPr spcFirstLastPara="0" vert="horz" wrap="square" lIns="135128" tIns="135128" rIns="135128" bIns="135128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b="1" kern="1200" dirty="0" smtClean="0">
              <a:latin typeface="Candara" pitchFamily="34" charset="0"/>
              <a:cs typeface="Aharoni" pitchFamily="2" charset="-79"/>
            </a:rPr>
            <a:t>Check Status</a:t>
          </a:r>
          <a:endParaRPr lang="en-US" sz="1900" b="1" kern="1200" dirty="0">
            <a:latin typeface="Candara" pitchFamily="34" charset="0"/>
            <a:cs typeface="Aharoni" pitchFamily="2" charset="-79"/>
          </a:endParaRPr>
        </a:p>
      </dsp:txBody>
      <dsp:txXfrm>
        <a:off x="161751" y="2574573"/>
        <a:ext cx="7144067" cy="548964"/>
      </dsp:txXfrm>
    </dsp:sp>
    <dsp:sp modelId="{81B3D6AD-2D1D-474B-A4D5-3972420D28F3}">
      <dsp:nvSpPr>
        <dsp:cNvPr id="0" name=""/>
        <dsp:cNvSpPr/>
      </dsp:nvSpPr>
      <dsp:spPr>
        <a:xfrm rot="10800000">
          <a:off x="173071" y="1779873"/>
          <a:ext cx="7105782" cy="872249"/>
        </a:xfrm>
        <a:prstGeom prst="upArrowCallout">
          <a:avLst/>
        </a:prstGeom>
        <a:gradFill rotWithShape="1">
          <a:gsLst>
            <a:gs pos="0">
              <a:schemeClr val="accent1">
                <a:shade val="51000"/>
                <a:satMod val="130000"/>
              </a:schemeClr>
            </a:gs>
            <a:gs pos="80000">
              <a:schemeClr val="accent1">
                <a:shade val="93000"/>
                <a:satMod val="130000"/>
              </a:schemeClr>
            </a:gs>
            <a:gs pos="100000">
              <a:schemeClr val="accent1"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1"/>
        </a:lnRef>
        <a:fillRef idx="3">
          <a:schemeClr val="accent1"/>
        </a:fillRef>
        <a:effectRef idx="3">
          <a:schemeClr val="accent1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kern="1200" dirty="0" smtClean="0">
              <a:latin typeface="Candara" pitchFamily="34" charset="0"/>
              <a:cs typeface="Aharoni" pitchFamily="2" charset="-79"/>
            </a:rPr>
            <a:t>Book</a:t>
          </a:r>
          <a:r>
            <a:rPr lang="en-US" sz="2000" kern="1200" dirty="0" smtClean="0">
              <a:latin typeface="Candara" pitchFamily="34" charset="0"/>
            </a:rPr>
            <a:t> </a:t>
          </a:r>
          <a:r>
            <a:rPr lang="en-US" sz="2400" b="1" kern="1200" dirty="0" smtClean="0">
              <a:latin typeface="Candara" pitchFamily="34" charset="0"/>
              <a:cs typeface="Aharoni" pitchFamily="2" charset="-79"/>
            </a:rPr>
            <a:t>Rooms</a:t>
          </a:r>
          <a:endParaRPr lang="en-US" sz="2400" b="1" kern="1200" dirty="0">
            <a:latin typeface="Candara" pitchFamily="34" charset="0"/>
            <a:cs typeface="Aharoni" pitchFamily="2" charset="-79"/>
          </a:endParaRPr>
        </a:p>
      </dsp:txBody>
      <dsp:txXfrm rot="10800000">
        <a:off x="173071" y="1779873"/>
        <a:ext cx="7105782" cy="566761"/>
      </dsp:txXfrm>
    </dsp:sp>
    <dsp:sp modelId="{E3939F56-722C-42DF-A72E-296AD4711193}">
      <dsp:nvSpPr>
        <dsp:cNvPr id="0" name=""/>
        <dsp:cNvSpPr/>
      </dsp:nvSpPr>
      <dsp:spPr>
        <a:xfrm rot="10800000">
          <a:off x="175290" y="858577"/>
          <a:ext cx="7116989" cy="976481"/>
        </a:xfrm>
        <a:prstGeom prst="upArrowCallout">
          <a:avLst/>
        </a:prstGeom>
        <a:gradFill rotWithShape="1">
          <a:gsLst>
            <a:gs pos="0">
              <a:schemeClr val="accent1">
                <a:shade val="51000"/>
                <a:satMod val="130000"/>
              </a:schemeClr>
            </a:gs>
            <a:gs pos="80000">
              <a:schemeClr val="accent1">
                <a:shade val="93000"/>
                <a:satMod val="130000"/>
              </a:schemeClr>
            </a:gs>
            <a:gs pos="100000">
              <a:schemeClr val="accent1"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1"/>
        </a:lnRef>
        <a:fillRef idx="3">
          <a:schemeClr val="accent1"/>
        </a:fillRef>
        <a:effectRef idx="3">
          <a:schemeClr val="accent1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kern="1200" dirty="0" smtClean="0">
              <a:latin typeface="Candara" pitchFamily="34" charset="0"/>
              <a:cs typeface="Aharoni" pitchFamily="2" charset="-79"/>
            </a:rPr>
            <a:t>Check Rooms</a:t>
          </a:r>
          <a:endParaRPr lang="en-US" sz="2400" b="1" kern="1200" dirty="0">
            <a:latin typeface="Candara" pitchFamily="34" charset="0"/>
            <a:cs typeface="Aharoni" pitchFamily="2" charset="-79"/>
          </a:endParaRPr>
        </a:p>
      </dsp:txBody>
      <dsp:txXfrm rot="10800000">
        <a:off x="175290" y="858577"/>
        <a:ext cx="7116989" cy="634488"/>
      </dsp:txXfrm>
    </dsp:sp>
    <dsp:sp modelId="{0652BC7E-7AFC-4631-9324-26B650C32B4C}">
      <dsp:nvSpPr>
        <dsp:cNvPr id="0" name=""/>
        <dsp:cNvSpPr/>
      </dsp:nvSpPr>
      <dsp:spPr>
        <a:xfrm rot="10800000">
          <a:off x="188753" y="0"/>
          <a:ext cx="7092469" cy="944634"/>
        </a:xfrm>
        <a:prstGeom prst="upArrowCallout">
          <a:avLst/>
        </a:prstGeom>
        <a:gradFill rotWithShape="1">
          <a:gsLst>
            <a:gs pos="0">
              <a:schemeClr val="accent1">
                <a:shade val="51000"/>
                <a:satMod val="130000"/>
              </a:schemeClr>
            </a:gs>
            <a:gs pos="80000">
              <a:schemeClr val="accent1">
                <a:shade val="93000"/>
                <a:satMod val="130000"/>
              </a:schemeClr>
            </a:gs>
            <a:gs pos="100000">
              <a:schemeClr val="accent1"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1"/>
        </a:lnRef>
        <a:fillRef idx="3">
          <a:schemeClr val="accent1"/>
        </a:fillRef>
        <a:effectRef idx="3">
          <a:schemeClr val="accent1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kern="1200" dirty="0" smtClean="0">
              <a:latin typeface="Candara" pitchFamily="34" charset="0"/>
              <a:cs typeface="Aharoni" pitchFamily="2" charset="-79"/>
            </a:rPr>
            <a:t>Search Hotel</a:t>
          </a:r>
          <a:endParaRPr lang="en-US" sz="2400" b="1" kern="1200" dirty="0">
            <a:latin typeface="Candara" pitchFamily="34" charset="0"/>
            <a:cs typeface="Aharoni" pitchFamily="2" charset="-79"/>
          </a:endParaRPr>
        </a:p>
      </dsp:txBody>
      <dsp:txXfrm rot="10800000">
        <a:off x="188753" y="0"/>
        <a:ext cx="7092469" cy="613795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8CC0ACD-2046-4931-B75C-A6BAEB8B91E9}">
      <dsp:nvSpPr>
        <dsp:cNvPr id="0" name=""/>
        <dsp:cNvSpPr/>
      </dsp:nvSpPr>
      <dsp:spPr>
        <a:xfrm>
          <a:off x="161751" y="2574573"/>
          <a:ext cx="7144067" cy="548964"/>
        </a:xfrm>
        <a:prstGeom prst="rect">
          <a:avLst/>
        </a:prstGeom>
        <a:gradFill rotWithShape="1">
          <a:gsLst>
            <a:gs pos="0">
              <a:schemeClr val="accent1">
                <a:shade val="51000"/>
                <a:satMod val="130000"/>
              </a:schemeClr>
            </a:gs>
            <a:gs pos="80000">
              <a:schemeClr val="accent1">
                <a:shade val="93000"/>
                <a:satMod val="130000"/>
              </a:schemeClr>
            </a:gs>
            <a:gs pos="100000">
              <a:schemeClr val="accent1"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1"/>
        </a:lnRef>
        <a:fillRef idx="3">
          <a:schemeClr val="accent1"/>
        </a:fillRef>
        <a:effectRef idx="3">
          <a:schemeClr val="accent1"/>
        </a:effectRef>
        <a:fontRef idx="minor">
          <a:schemeClr val="lt1"/>
        </a:fontRef>
      </dsp:style>
      <dsp:txBody>
        <a:bodyPr spcFirstLastPara="0" vert="horz" wrap="square" lIns="135128" tIns="135128" rIns="135128" bIns="135128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b="1" kern="1200" dirty="0" smtClean="0">
              <a:latin typeface="Candara" pitchFamily="34" charset="0"/>
              <a:cs typeface="Aharoni" pitchFamily="2" charset="-79"/>
            </a:rPr>
            <a:t>Check Status</a:t>
          </a:r>
          <a:endParaRPr lang="en-US" sz="1900" b="1" kern="1200" dirty="0">
            <a:latin typeface="Candara" pitchFamily="34" charset="0"/>
            <a:cs typeface="Aharoni" pitchFamily="2" charset="-79"/>
          </a:endParaRPr>
        </a:p>
      </dsp:txBody>
      <dsp:txXfrm>
        <a:off x="161751" y="2574573"/>
        <a:ext cx="7144067" cy="548964"/>
      </dsp:txXfrm>
    </dsp:sp>
    <dsp:sp modelId="{81B3D6AD-2D1D-474B-A4D5-3972420D28F3}">
      <dsp:nvSpPr>
        <dsp:cNvPr id="0" name=""/>
        <dsp:cNvSpPr/>
      </dsp:nvSpPr>
      <dsp:spPr>
        <a:xfrm rot="10800000">
          <a:off x="173071" y="1779873"/>
          <a:ext cx="7105782" cy="872249"/>
        </a:xfrm>
        <a:prstGeom prst="upArrowCallout">
          <a:avLst/>
        </a:prstGeom>
        <a:gradFill rotWithShape="1">
          <a:gsLst>
            <a:gs pos="0">
              <a:schemeClr val="accent1">
                <a:shade val="51000"/>
                <a:satMod val="130000"/>
              </a:schemeClr>
            </a:gs>
            <a:gs pos="80000">
              <a:schemeClr val="accent1">
                <a:shade val="93000"/>
                <a:satMod val="130000"/>
              </a:schemeClr>
            </a:gs>
            <a:gs pos="100000">
              <a:schemeClr val="accent1"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1"/>
        </a:lnRef>
        <a:fillRef idx="3">
          <a:schemeClr val="accent1"/>
        </a:fillRef>
        <a:effectRef idx="3">
          <a:schemeClr val="accent1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kern="1200" dirty="0" smtClean="0">
              <a:latin typeface="Candara" pitchFamily="34" charset="0"/>
              <a:cs typeface="Aharoni" pitchFamily="2" charset="-79"/>
            </a:rPr>
            <a:t>Book</a:t>
          </a:r>
          <a:r>
            <a:rPr lang="en-US" sz="2000" kern="1200" dirty="0" smtClean="0">
              <a:latin typeface="Candara" pitchFamily="34" charset="0"/>
            </a:rPr>
            <a:t> </a:t>
          </a:r>
          <a:r>
            <a:rPr lang="en-US" sz="2400" b="1" kern="1200" dirty="0" smtClean="0">
              <a:latin typeface="Candara" pitchFamily="34" charset="0"/>
              <a:cs typeface="Aharoni" pitchFamily="2" charset="-79"/>
            </a:rPr>
            <a:t>Rooms</a:t>
          </a:r>
          <a:endParaRPr lang="en-US" sz="2400" b="1" kern="1200" dirty="0">
            <a:latin typeface="Candara" pitchFamily="34" charset="0"/>
            <a:cs typeface="Aharoni" pitchFamily="2" charset="-79"/>
          </a:endParaRPr>
        </a:p>
      </dsp:txBody>
      <dsp:txXfrm rot="10800000">
        <a:off x="173071" y="1779873"/>
        <a:ext cx="7105782" cy="566761"/>
      </dsp:txXfrm>
    </dsp:sp>
    <dsp:sp modelId="{E3939F56-722C-42DF-A72E-296AD4711193}">
      <dsp:nvSpPr>
        <dsp:cNvPr id="0" name=""/>
        <dsp:cNvSpPr/>
      </dsp:nvSpPr>
      <dsp:spPr>
        <a:xfrm rot="10800000">
          <a:off x="175290" y="858577"/>
          <a:ext cx="7116989" cy="976481"/>
        </a:xfrm>
        <a:prstGeom prst="upArrowCallout">
          <a:avLst/>
        </a:prstGeom>
        <a:gradFill rotWithShape="1">
          <a:gsLst>
            <a:gs pos="0">
              <a:schemeClr val="accent1">
                <a:shade val="51000"/>
                <a:satMod val="130000"/>
              </a:schemeClr>
            </a:gs>
            <a:gs pos="80000">
              <a:schemeClr val="accent1">
                <a:shade val="93000"/>
                <a:satMod val="130000"/>
              </a:schemeClr>
            </a:gs>
            <a:gs pos="100000">
              <a:schemeClr val="accent1"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1"/>
        </a:lnRef>
        <a:fillRef idx="3">
          <a:schemeClr val="accent1"/>
        </a:fillRef>
        <a:effectRef idx="3">
          <a:schemeClr val="accent1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kern="1200" dirty="0" smtClean="0">
              <a:latin typeface="Candara" pitchFamily="34" charset="0"/>
              <a:cs typeface="Aharoni" pitchFamily="2" charset="-79"/>
            </a:rPr>
            <a:t>Check Rooms</a:t>
          </a:r>
          <a:endParaRPr lang="en-US" sz="2400" b="1" kern="1200" dirty="0">
            <a:latin typeface="Candara" pitchFamily="34" charset="0"/>
            <a:cs typeface="Aharoni" pitchFamily="2" charset="-79"/>
          </a:endParaRPr>
        </a:p>
      </dsp:txBody>
      <dsp:txXfrm rot="10800000">
        <a:off x="175290" y="858577"/>
        <a:ext cx="7116989" cy="634488"/>
      </dsp:txXfrm>
    </dsp:sp>
    <dsp:sp modelId="{0652BC7E-7AFC-4631-9324-26B650C32B4C}">
      <dsp:nvSpPr>
        <dsp:cNvPr id="0" name=""/>
        <dsp:cNvSpPr/>
      </dsp:nvSpPr>
      <dsp:spPr>
        <a:xfrm rot="10800000">
          <a:off x="188753" y="0"/>
          <a:ext cx="7092469" cy="944634"/>
        </a:xfrm>
        <a:prstGeom prst="upArrowCallout">
          <a:avLst/>
        </a:prstGeom>
        <a:gradFill rotWithShape="1">
          <a:gsLst>
            <a:gs pos="0">
              <a:schemeClr val="accent1">
                <a:shade val="51000"/>
                <a:satMod val="130000"/>
              </a:schemeClr>
            </a:gs>
            <a:gs pos="80000">
              <a:schemeClr val="accent1">
                <a:shade val="93000"/>
                <a:satMod val="130000"/>
              </a:schemeClr>
            </a:gs>
            <a:gs pos="100000">
              <a:schemeClr val="accent1"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1"/>
        </a:lnRef>
        <a:fillRef idx="3">
          <a:schemeClr val="accent1"/>
        </a:fillRef>
        <a:effectRef idx="3">
          <a:schemeClr val="accent1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kern="1200" dirty="0" smtClean="0">
              <a:latin typeface="Candara" pitchFamily="34" charset="0"/>
              <a:cs typeface="Aharoni" pitchFamily="2" charset="-79"/>
            </a:rPr>
            <a:t>Search Hotel</a:t>
          </a:r>
          <a:endParaRPr lang="en-US" sz="2400" b="1" kern="1200" dirty="0">
            <a:latin typeface="Candara" pitchFamily="34" charset="0"/>
            <a:cs typeface="Aharoni" pitchFamily="2" charset="-79"/>
          </a:endParaRPr>
        </a:p>
      </dsp:txBody>
      <dsp:txXfrm rot="10800000">
        <a:off x="188753" y="0"/>
        <a:ext cx="7092469" cy="613795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06933BA-B50D-450B-AAEB-48170BE180DE}">
      <dsp:nvSpPr>
        <dsp:cNvPr id="0" name=""/>
        <dsp:cNvSpPr/>
      </dsp:nvSpPr>
      <dsp:spPr>
        <a:xfrm>
          <a:off x="2673883" y="2502"/>
          <a:ext cx="1510233" cy="981651"/>
        </a:xfrm>
        <a:prstGeom prst="round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 dirty="0" smtClean="0"/>
            <a:t>Add Hotel</a:t>
          </a:r>
          <a:endParaRPr lang="en-US" sz="1700" kern="1200" dirty="0"/>
        </a:p>
      </dsp:txBody>
      <dsp:txXfrm>
        <a:off x="2721803" y="50422"/>
        <a:ext cx="1414393" cy="885811"/>
      </dsp:txXfrm>
    </dsp:sp>
    <dsp:sp modelId="{5BC18BC3-3285-4E0F-84E5-A8A5D3D5D60C}">
      <dsp:nvSpPr>
        <dsp:cNvPr id="0" name=""/>
        <dsp:cNvSpPr/>
      </dsp:nvSpPr>
      <dsp:spPr>
        <a:xfrm>
          <a:off x="1468829" y="493328"/>
          <a:ext cx="3920341" cy="3920341"/>
        </a:xfrm>
        <a:custGeom>
          <a:avLst/>
          <a:gdLst/>
          <a:ahLst/>
          <a:cxnLst/>
          <a:rect l="0" t="0" r="0" b="0"/>
          <a:pathLst>
            <a:path>
              <a:moveTo>
                <a:pt x="2725648" y="155645"/>
              </a:moveTo>
              <a:arcTo wR="1960170" hR="1960170" stAng="17579197" swAng="1960161"/>
            </a:path>
          </a:pathLst>
        </a:custGeom>
        <a:noFill/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flat" dir="t"/>
        </a:scene3d>
        <a:sp3d z="-40000" prstMaterial="matte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4B83BCD-2764-4641-900C-5D7261620F85}">
      <dsp:nvSpPr>
        <dsp:cNvPr id="0" name=""/>
        <dsp:cNvSpPr/>
      </dsp:nvSpPr>
      <dsp:spPr>
        <a:xfrm>
          <a:off x="4538116" y="1356946"/>
          <a:ext cx="1510233" cy="981651"/>
        </a:xfrm>
        <a:prstGeom prst="round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 dirty="0" smtClean="0"/>
            <a:t>Update Hotel</a:t>
          </a:r>
          <a:endParaRPr lang="en-US" sz="1700" kern="1200" dirty="0"/>
        </a:p>
      </dsp:txBody>
      <dsp:txXfrm>
        <a:off x="4586036" y="1404866"/>
        <a:ext cx="1414393" cy="885811"/>
      </dsp:txXfrm>
    </dsp:sp>
    <dsp:sp modelId="{A78D3014-E6FD-44EF-AB38-E40CF7DF095D}">
      <dsp:nvSpPr>
        <dsp:cNvPr id="0" name=""/>
        <dsp:cNvSpPr/>
      </dsp:nvSpPr>
      <dsp:spPr>
        <a:xfrm>
          <a:off x="1468829" y="493328"/>
          <a:ext cx="3920341" cy="3920341"/>
        </a:xfrm>
        <a:custGeom>
          <a:avLst/>
          <a:gdLst/>
          <a:ahLst/>
          <a:cxnLst/>
          <a:rect l="0" t="0" r="0" b="0"/>
          <a:pathLst>
            <a:path>
              <a:moveTo>
                <a:pt x="3917666" y="1857794"/>
              </a:moveTo>
              <a:arcTo wR="1960170" hR="1960170" stAng="21420371" swAng="2195245"/>
            </a:path>
          </a:pathLst>
        </a:custGeom>
        <a:noFill/>
        <a:ln w="9525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flat" dir="t"/>
        </a:scene3d>
        <a:sp3d z="-40000" prstMaterial="matte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F947D2C-A264-4FDD-A879-DBA4E601822B}">
      <dsp:nvSpPr>
        <dsp:cNvPr id="0" name=""/>
        <dsp:cNvSpPr/>
      </dsp:nvSpPr>
      <dsp:spPr>
        <a:xfrm>
          <a:off x="3826042" y="3548484"/>
          <a:ext cx="1510233" cy="981651"/>
        </a:xfrm>
        <a:prstGeom prst="round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 dirty="0" smtClean="0"/>
            <a:t>Delete Hotel</a:t>
          </a:r>
          <a:endParaRPr lang="en-US" sz="1700" kern="1200" dirty="0"/>
        </a:p>
      </dsp:txBody>
      <dsp:txXfrm>
        <a:off x="3873962" y="3596404"/>
        <a:ext cx="1414393" cy="885811"/>
      </dsp:txXfrm>
    </dsp:sp>
    <dsp:sp modelId="{C222ABC2-F63F-48CE-ADEA-CA02BCA050D2}">
      <dsp:nvSpPr>
        <dsp:cNvPr id="0" name=""/>
        <dsp:cNvSpPr/>
      </dsp:nvSpPr>
      <dsp:spPr>
        <a:xfrm>
          <a:off x="1468829" y="493328"/>
          <a:ext cx="3920341" cy="3920341"/>
        </a:xfrm>
        <a:custGeom>
          <a:avLst/>
          <a:gdLst/>
          <a:ahLst/>
          <a:cxnLst/>
          <a:rect l="0" t="0" r="0" b="0"/>
          <a:pathLst>
            <a:path>
              <a:moveTo>
                <a:pt x="2349434" y="3881301"/>
              </a:moveTo>
              <a:arcTo wR="1960170" hR="1960170" stAng="4712741" swAng="1374517"/>
            </a:path>
          </a:pathLst>
        </a:custGeom>
        <a:noFill/>
        <a:ln w="9525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flat" dir="t"/>
        </a:scene3d>
        <a:sp3d z="-40000" prstMaterial="matte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B3E9F18-E09C-425E-AEE4-D4BCE1DC9CB4}">
      <dsp:nvSpPr>
        <dsp:cNvPr id="0" name=""/>
        <dsp:cNvSpPr/>
      </dsp:nvSpPr>
      <dsp:spPr>
        <a:xfrm>
          <a:off x="1521723" y="3548484"/>
          <a:ext cx="1510233" cy="981651"/>
        </a:xfrm>
        <a:prstGeom prst="roundRec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5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 dirty="0" smtClean="0"/>
            <a:t>View Hotel Booking Details</a:t>
          </a:r>
          <a:endParaRPr lang="en-US" sz="1700" kern="1200" dirty="0"/>
        </a:p>
      </dsp:txBody>
      <dsp:txXfrm>
        <a:off x="1569643" y="3596404"/>
        <a:ext cx="1414393" cy="885811"/>
      </dsp:txXfrm>
    </dsp:sp>
    <dsp:sp modelId="{68533FF6-BA62-4833-B97F-A594CA9C4906}">
      <dsp:nvSpPr>
        <dsp:cNvPr id="0" name=""/>
        <dsp:cNvSpPr/>
      </dsp:nvSpPr>
      <dsp:spPr>
        <a:xfrm>
          <a:off x="1468829" y="493328"/>
          <a:ext cx="3920341" cy="3920341"/>
        </a:xfrm>
        <a:custGeom>
          <a:avLst/>
          <a:gdLst/>
          <a:ahLst/>
          <a:cxnLst/>
          <a:rect l="0" t="0" r="0" b="0"/>
          <a:pathLst>
            <a:path>
              <a:moveTo>
                <a:pt x="327381" y="3044730"/>
              </a:moveTo>
              <a:arcTo wR="1960170" hR="1960170" stAng="8784384" swAng="2195245"/>
            </a:path>
          </a:pathLst>
        </a:custGeom>
        <a:noFill/>
        <a:ln w="952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flat" dir="t"/>
        </a:scene3d>
        <a:sp3d z="-40000" prstMaterial="matte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40E9BA4-83CD-4DD8-9AE2-C89B45DBB0DD}">
      <dsp:nvSpPr>
        <dsp:cNvPr id="0" name=""/>
        <dsp:cNvSpPr/>
      </dsp:nvSpPr>
      <dsp:spPr>
        <a:xfrm>
          <a:off x="809649" y="1356946"/>
          <a:ext cx="1510233" cy="981651"/>
        </a:xfrm>
        <a:prstGeom prst="roundRect">
          <a:avLst/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6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 dirty="0" smtClean="0"/>
            <a:t>View all requested Hotel</a:t>
          </a:r>
          <a:endParaRPr lang="en-US" sz="1700" kern="1200" dirty="0"/>
        </a:p>
      </dsp:txBody>
      <dsp:txXfrm>
        <a:off x="857569" y="1404866"/>
        <a:ext cx="1414393" cy="885811"/>
      </dsp:txXfrm>
    </dsp:sp>
    <dsp:sp modelId="{15D0436F-1BDA-4538-AC5B-74FC13E3D07D}">
      <dsp:nvSpPr>
        <dsp:cNvPr id="0" name=""/>
        <dsp:cNvSpPr/>
      </dsp:nvSpPr>
      <dsp:spPr>
        <a:xfrm>
          <a:off x="1468829" y="493328"/>
          <a:ext cx="3920341" cy="3920341"/>
        </a:xfrm>
        <a:custGeom>
          <a:avLst/>
          <a:gdLst/>
          <a:ahLst/>
          <a:cxnLst/>
          <a:rect l="0" t="0" r="0" b="0"/>
          <a:pathLst>
            <a:path>
              <a:moveTo>
                <a:pt x="341726" y="854319"/>
              </a:moveTo>
              <a:arcTo wR="1960170" hR="1960170" stAng="12860643" swAng="1960161"/>
            </a:path>
          </a:pathLst>
        </a:custGeom>
        <a:noFill/>
        <a:ln w="9525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flat" dir="t"/>
        </a:scene3d>
        <a:sp3d z="-40000" prstMaterial="matte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C7753AD-1FB5-43E8-8137-BBD858C7A74F}">
      <dsp:nvSpPr>
        <dsp:cNvPr id="0" name=""/>
        <dsp:cNvSpPr/>
      </dsp:nvSpPr>
      <dsp:spPr>
        <a:xfrm>
          <a:off x="2514597" y="1362615"/>
          <a:ext cx="2133604" cy="1538373"/>
        </a:xfrm>
        <a:prstGeom prst="round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8900" tIns="88900" rIns="88900" bIns="88900" numCol="1" spcCol="1270" anchor="ctr" anchorCtr="0">
          <a:noAutofit/>
        </a:bodyPr>
        <a:lstStyle/>
        <a:p>
          <a:pPr lvl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500" kern="1200" dirty="0" smtClean="0"/>
            <a:t>USER</a:t>
          </a:r>
          <a:endParaRPr lang="en-US" sz="3500" kern="1200" dirty="0"/>
        </a:p>
      </dsp:txBody>
      <dsp:txXfrm>
        <a:off x="2589694" y="1437712"/>
        <a:ext cx="1983410" cy="1388179"/>
      </dsp:txXfrm>
    </dsp:sp>
    <dsp:sp modelId="{A161CF3E-6D45-47F1-86D3-F40EB4B4BB77}">
      <dsp:nvSpPr>
        <dsp:cNvPr id="0" name=""/>
        <dsp:cNvSpPr/>
      </dsp:nvSpPr>
      <dsp:spPr>
        <a:xfrm rot="9903006">
          <a:off x="1671284" y="2527301"/>
          <a:ext cx="857831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857831" y="0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E2FD32C-0004-4DA7-BA37-CEB1E212A665}">
      <dsp:nvSpPr>
        <dsp:cNvPr id="0" name=""/>
        <dsp:cNvSpPr/>
      </dsp:nvSpPr>
      <dsp:spPr>
        <a:xfrm>
          <a:off x="152398" y="2336816"/>
          <a:ext cx="1533404" cy="1011705"/>
        </a:xfrm>
        <a:prstGeom prst="round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6040" tIns="66040" rIns="66040" bIns="6604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kern="1200" dirty="0" smtClean="0"/>
            <a:t>Searching for Hotel</a:t>
          </a:r>
          <a:endParaRPr lang="en-US" sz="2600" kern="1200" dirty="0"/>
        </a:p>
      </dsp:txBody>
      <dsp:txXfrm>
        <a:off x="201785" y="2386203"/>
        <a:ext cx="1434630" cy="912931"/>
      </dsp:txXfrm>
    </dsp:sp>
    <dsp:sp modelId="{6A5053F6-9FDE-40FE-B299-DFE8EB891001}">
      <dsp:nvSpPr>
        <dsp:cNvPr id="0" name=""/>
        <dsp:cNvSpPr/>
      </dsp:nvSpPr>
      <dsp:spPr>
        <a:xfrm rot="863838">
          <a:off x="4633378" y="2523023"/>
          <a:ext cx="944048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944048" y="0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149A267-CF74-41DA-9A4E-448EAA887BEF}">
      <dsp:nvSpPr>
        <dsp:cNvPr id="0" name=""/>
        <dsp:cNvSpPr/>
      </dsp:nvSpPr>
      <dsp:spPr>
        <a:xfrm>
          <a:off x="5562603" y="2336779"/>
          <a:ext cx="1405786" cy="968095"/>
        </a:xfrm>
        <a:prstGeom prst="round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6040" tIns="66040" rIns="66040" bIns="6604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kern="1200" dirty="0" smtClean="0"/>
            <a:t>Book a Hotel</a:t>
          </a:r>
          <a:endParaRPr lang="en-US" sz="2600" kern="1200" dirty="0"/>
        </a:p>
      </dsp:txBody>
      <dsp:txXfrm>
        <a:off x="5609862" y="2384038"/>
        <a:ext cx="1311268" cy="873577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123161"/>
          <a:ext cx="1828799" cy="469532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File Handling</a:t>
          </a:r>
          <a:endParaRPr lang="en-US" sz="1800" kern="1200" dirty="0"/>
        </a:p>
      </dsp:txBody>
      <dsp:txXfrm>
        <a:off x="22921" y="146082"/>
        <a:ext cx="1782957" cy="423690"/>
      </dsp:txXfrm>
    </dsp:sp>
    <dsp:sp modelId="{E5C0A0C3-950D-4232-9872-9174C1E989AA}">
      <dsp:nvSpPr>
        <dsp:cNvPr id="0" name=""/>
        <dsp:cNvSpPr/>
      </dsp:nvSpPr>
      <dsp:spPr>
        <a:xfrm>
          <a:off x="0" y="473063"/>
          <a:ext cx="1828799" cy="43780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8064" tIns="22860" rIns="128016" bIns="2286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400" kern="1200" dirty="0" smtClean="0"/>
            <a:t>Storage of information</a:t>
          </a:r>
          <a:endParaRPr lang="en-US" sz="1400" kern="1200" dirty="0"/>
        </a:p>
      </dsp:txBody>
      <dsp:txXfrm>
        <a:off x="0" y="473063"/>
        <a:ext cx="1828799" cy="437805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0"/>
          <a:ext cx="2209799" cy="723038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0" tIns="114300" rIns="114300" bIns="114300" numCol="1" spcCol="1270" anchor="ctr" anchorCtr="0">
          <a:noAutofit/>
        </a:bodyPr>
        <a:lstStyle/>
        <a:p>
          <a:pPr lvl="0" algn="l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000" kern="1200" dirty="0" smtClean="0"/>
            <a:t>Query</a:t>
          </a:r>
          <a:endParaRPr lang="en-US" sz="3000" kern="1200" dirty="0"/>
        </a:p>
      </dsp:txBody>
      <dsp:txXfrm>
        <a:off x="35296" y="35296"/>
        <a:ext cx="2139207" cy="652446"/>
      </dsp:txXfrm>
    </dsp:sp>
    <dsp:sp modelId="{E5C0A0C3-950D-4232-9872-9174C1E989AA}">
      <dsp:nvSpPr>
        <dsp:cNvPr id="0" name=""/>
        <dsp:cNvSpPr/>
      </dsp:nvSpPr>
      <dsp:spPr>
        <a:xfrm>
          <a:off x="0" y="729120"/>
          <a:ext cx="2209799" cy="7948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0161" tIns="25400" rIns="142240" bIns="2540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000" kern="1200" dirty="0" smtClean="0"/>
            <a:t>improvement</a:t>
          </a:r>
          <a:r>
            <a:rPr lang="en-US" sz="1300" kern="1200" dirty="0" smtClean="0"/>
            <a:t>s</a:t>
          </a:r>
          <a:endParaRPr lang="en-US" sz="1300" kern="1200" dirty="0"/>
        </a:p>
      </dsp:txBody>
      <dsp:txXfrm>
        <a:off x="0" y="729120"/>
        <a:ext cx="2209799" cy="794880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0"/>
          <a:ext cx="1904999" cy="691527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Error Handling</a:t>
          </a:r>
          <a:endParaRPr lang="en-US" sz="2200" kern="1200" dirty="0"/>
        </a:p>
      </dsp:txBody>
      <dsp:txXfrm>
        <a:off x="33758" y="33758"/>
        <a:ext cx="1837483" cy="624011"/>
      </dsp:txXfrm>
    </dsp:sp>
    <dsp:sp modelId="{E5C0A0C3-950D-4232-9872-9174C1E989AA}">
      <dsp:nvSpPr>
        <dsp:cNvPr id="0" name=""/>
        <dsp:cNvSpPr/>
      </dsp:nvSpPr>
      <dsp:spPr>
        <a:xfrm>
          <a:off x="0" y="773203"/>
          <a:ext cx="1904999" cy="3643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27940" rIns="156464" bIns="27940" numCol="1" spcCol="1270" anchor="t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700" kern="1200" dirty="0" smtClean="0"/>
            <a:t>consistency</a:t>
          </a:r>
          <a:endParaRPr lang="en-US" sz="1700" kern="1200" dirty="0"/>
        </a:p>
      </dsp:txBody>
      <dsp:txXfrm>
        <a:off x="0" y="773203"/>
        <a:ext cx="1904999" cy="364320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0"/>
          <a:ext cx="1904999" cy="62361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lvl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kern="1200" dirty="0" smtClean="0"/>
            <a:t>System</a:t>
          </a:r>
          <a:endParaRPr lang="en-US" sz="2600" kern="1200" dirty="0"/>
        </a:p>
      </dsp:txBody>
      <dsp:txXfrm>
        <a:off x="30442" y="30442"/>
        <a:ext cx="1844115" cy="562726"/>
      </dsp:txXfrm>
    </dsp:sp>
    <dsp:sp modelId="{E5C0A0C3-950D-4232-9872-9174C1E989AA}">
      <dsp:nvSpPr>
        <dsp:cNvPr id="0" name=""/>
        <dsp:cNvSpPr/>
      </dsp:nvSpPr>
      <dsp:spPr>
        <a:xfrm>
          <a:off x="0" y="643312"/>
          <a:ext cx="1904999" cy="63238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3020" rIns="184912" bIns="3302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000" kern="1200" dirty="0" smtClean="0"/>
            <a:t>Minimum specifications</a:t>
          </a:r>
          <a:endParaRPr lang="en-US" sz="2000" kern="1200" dirty="0"/>
        </a:p>
      </dsp:txBody>
      <dsp:txXfrm>
        <a:off x="0" y="643312"/>
        <a:ext cx="1904999" cy="63238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2">
  <dgm:title val=""/>
  <dgm:desc val=""/>
  <dgm:catLst>
    <dgm:cat type="hierarchy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 val="exact"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ptType="node" refType="h"/>
      <dgm:constr type="w" for="des" ptType="node" refType="h" refFor="des" refPtType="node" fact="2"/>
      <dgm:constr type="sibSp" refType="h" refFor="des" refPtType="node" op="equ" fact="0.15"/>
      <dgm:constr type="sibSp" for="des" forName="level2hierChild" refType="h" refFor="des" refPtType="node" op="equ" fact="0.15"/>
      <dgm:constr type="sibSp" for="des" forName="level3hierChild" refType="h" refFor="des" refPtType="node" op="equ" fact="0.15"/>
      <dgm:constr type="sp" for="des" forName="root1" refType="w" refFor="des" refPtType="node" fact="0.4"/>
      <dgm:constr type="sp" for="des" forName="root2" refType="sp" refFor="des" refForName="root1" op="equ"/>
      <dgm:constr type="primFontSz" for="des" ptType="node" op="equ" val="65"/>
      <dgm:constr type="primFontSz" for="des" forName="connTx" op="equ" val="55"/>
      <dgm:constr type="primFontSz" for="des" forName="connTx" refType="primFontSz" refFor="des" refPtType="node" op="lte" fact="0.8"/>
    </dgm:constrLst>
    <dgm:ruleLst/>
    <dgm:forEach name="Name3" axis="ch">
      <dgm:forEach name="Name4" axis="self" ptType="node">
        <dgm:layoutNode name="root1">
          <dgm:choose name="Name5">
            <dgm:if name="Name6" func="var" arg="dir" op="equ" val="norm">
              <dgm:alg type="hierRoot">
                <dgm:param type="hierAlign" val="lCtrCh"/>
              </dgm:alg>
            </dgm:if>
            <dgm:else name="Name7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/>
          <dgm:layoutNode name="LevelOneTextNode" styleLbl="node0">
            <dgm:varLst>
              <dgm:chPref val="3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  <dgm:layoutNode name="level2hierChild">
            <dgm:choose name="Name8">
              <dgm:if name="Name9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0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eat" axis="ch">
              <dgm:forEach name="Name11" axis="self" ptType="parTrans" cnt="1">
                <dgm:layoutNode name="conn2-1">
                  <dgm:choose name="Name12">
                    <dgm:if name="Name13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</dgm:alg>
                    </dgm:if>
                    <dgm:else name="Name14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ruleLst/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5" axis="self" ptType="node">
                <dgm:layoutNode name="root2">
                  <dgm:choose name="Name16">
                    <dgm:if name="Name17" func="var" arg="dir" op="equ" val="norm">
                      <dgm:alg type="hierRoot">
                        <dgm:param type="hierAlign" val="lCtrCh"/>
                      </dgm:alg>
                    </dgm:if>
                    <dgm:else name="Name18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oundRect" r:blip="">
                      <dgm:adjLst>
                        <dgm:adj idx="1" val="0.1"/>
                      </dgm:adjLst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level3hierChild">
                    <dgm:choose name="Name19">
                      <dgm:if name="Name20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1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22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rocess4">
  <dgm:title val=""/>
  <dgm:desc val=""/>
  <dgm:catLst>
    <dgm:cat type="process" pri="16000"/>
    <dgm:cat type="list" pri="2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lin">
      <dgm:param type="linDir" val="fromB"/>
    </dgm:alg>
    <dgm:shape xmlns:r="http://schemas.openxmlformats.org/officeDocument/2006/relationships" r:blip="">
      <dgm:adjLst/>
    </dgm:shape>
    <dgm:presOf/>
    <dgm:constrLst>
      <dgm:constr type="h" for="ch" forName="boxAndChildren" refType="h"/>
      <dgm:constr type="h" for="ch" forName="arrowAndChildren" refType="h" refFor="ch" refForName="boxAndChildren" op="equ" fact="1.538"/>
      <dgm:constr type="w" for="ch" forName="arrowAndChildren" refType="w"/>
      <dgm:constr type="w" for="ch" forName="boxAndChildren" refType="w"/>
      <dgm:constr type="h" for="ch" forName="sp" refType="h" fact="-0.015"/>
      <dgm:constr type="primFontSz" for="des" forName="parentTextBox" val="65"/>
      <dgm:constr type="primFontSz" for="des" forName="parentTextArrow" refType="primFontSz" refFor="des" refForName="parentTextBox" op="equ"/>
      <dgm:constr type="primFontSz" for="des" forName="childTextArrow" val="65"/>
      <dgm:constr type="primFontSz" for="des" forName="childTextBox" refType="primFontSz" refFor="des" refForName="childTextArrow" op="equ"/>
    </dgm:constrLst>
    <dgm:ruleLst/>
    <dgm:forEach name="Name1" axis="ch" ptType="node" st="-1" step="-1">
      <dgm:choose name="Name2">
        <dgm:if name="Name3" axis="self" ptType="node" func="revPos" op="equ" val="1">
          <dgm:layoutNode name="boxAndChildren">
            <dgm:alg type="composite"/>
            <dgm:shape xmlns:r="http://schemas.openxmlformats.org/officeDocument/2006/relationships" r:blip="">
              <dgm:adjLst/>
            </dgm:shape>
            <dgm:presOf/>
            <dgm:choose name="Name4">
              <dgm:if name="Name5" axis="ch" ptType="node" func="cnt" op="gte" val="1">
                <dgm:constrLst>
                  <dgm:constr type="w" for="ch" forName="parentTextBox" refType="w"/>
                  <dgm:constr type="h" for="ch" forName="parentTextBox" refType="h" fact="0.54"/>
                  <dgm:constr type="t" for="ch" forName="parentTextBox"/>
                  <dgm:constr type="w" for="ch" forName="entireBox" refType="w"/>
                  <dgm:constr type="h" for="ch" forName="entireBox" refType="h"/>
                  <dgm:constr type="w" for="ch" forName="descendantBox" refType="w"/>
                  <dgm:constr type="b" for="ch" forName="descendantBox" refType="h" fact="0.98"/>
                  <dgm:constr type="h" for="ch" forName="descendantBox" refType="h" fact="0.46"/>
                </dgm:constrLst>
              </dgm:if>
              <dgm:else name="Name6">
                <dgm:constrLst>
                  <dgm:constr type="w" for="ch" forName="parentTextBox" refType="w"/>
                  <dgm:constr type="h" for="ch" forName="parentTextBox" refType="h"/>
                </dgm:constrLst>
              </dgm:else>
            </dgm:choose>
            <dgm:ruleLst/>
            <dgm:layoutNode name="parentTextBox">
              <dgm:alg type="tx"/>
              <dgm:choose name="Name7">
                <dgm:if name="Name8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9">
                  <dgm:shape xmlns:r="http://schemas.openxmlformats.org/officeDocument/2006/relationships" type="rec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10">
              <dgm:if name="Name11" axis="ch" ptType="node" func="cnt" op="gte" val="1">
                <dgm:layoutNode name="entireBox">
                  <dgm:alg type="sp"/>
                  <dgm:shape xmlns:r="http://schemas.openxmlformats.org/officeDocument/2006/relationships" type="rect" r:blip="">
                    <dgm:adjLst/>
                  </dgm:shape>
                  <dgm:presOf axis="self"/>
                  <dgm:constrLst/>
                  <dgm:ruleLst/>
                </dgm:layoutNode>
                <dgm:layoutNode name="descendantBox" styleLbl="fgAccFollowNode1">
                  <dgm:choose name="Name12">
                    <dgm:if name="Name13" func="var" arg="dir" op="equ" val="norm">
                      <dgm:alg type="lin"/>
                    </dgm:if>
                    <dgm:else name="Name14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Box" refType="w"/>
                    <dgm:constr type="h" for="ch" forName="childTextBox" refType="h"/>
                  </dgm:constrLst>
                  <dgm:ruleLst/>
                  <dgm:forEach name="Name15" axis="ch" ptType="node">
                    <dgm:layoutNode name="childTextBox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16"/>
            </dgm:choose>
          </dgm:layoutNode>
        </dgm:if>
        <dgm:else name="Name17">
          <dgm:layoutNode name="arrowAndChildren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axis="ch" ptType="node" func="cnt" op="gte" val="1">
                <dgm:constrLst>
                  <dgm:constr type="w" for="ch" forName="parentTextArrow" refType="w"/>
                  <dgm:constr type="t" for="ch" forName="parentTextArrow"/>
                  <dgm:constr type="h" for="ch" forName="parentTextArrow" refType="h" fact="0.351"/>
                  <dgm:constr type="w" for="ch" forName="arrow" refType="w"/>
                  <dgm:constr type="h" for="ch" forName="arrow" refType="h"/>
                  <dgm:constr type="w" for="ch" forName="descendantArrow" refType="w"/>
                  <dgm:constr type="b" for="ch" forName="descendantArrow" refType="h" fact="0.65"/>
                  <dgm:constr type="h" for="ch" forName="descendantArrow" refType="h" fact="0.299"/>
                </dgm:constrLst>
              </dgm:if>
              <dgm:else name="Name20">
                <dgm:constrLst>
                  <dgm:constr type="w" for="ch" forName="parentTextArrow" refType="w"/>
                  <dgm:constr type="h" for="ch" forName="parentTextArrow" refType="h"/>
                </dgm:constrLst>
              </dgm:else>
            </dgm:choose>
            <dgm:ruleLst/>
            <dgm:layoutNode name="parentTextArrow">
              <dgm:alg type="tx"/>
              <dgm:choose name="Name21">
                <dgm:if name="Name22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23">
                  <dgm:shape xmlns:r="http://schemas.openxmlformats.org/officeDocument/2006/relationships" rot="180" type="upArrowCallou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24">
              <dgm:if name="Name25" axis="ch" ptType="node" func="cnt" op="gte" val="1">
                <dgm:layoutNode name="arrow">
                  <dgm:alg type="sp"/>
                  <dgm:shape xmlns:r="http://schemas.openxmlformats.org/officeDocument/2006/relationships" rot="180" type="upArrowCallout" r:blip="">
                    <dgm:adjLst/>
                  </dgm:shape>
                  <dgm:presOf axis="self"/>
                  <dgm:constrLst/>
                  <dgm:ruleLst/>
                </dgm:layoutNode>
                <dgm:layoutNode name="descendantArrow">
                  <dgm:choose name="Name26">
                    <dgm:if name="Name27" func="var" arg="dir" op="equ" val="norm">
                      <dgm:alg type="lin"/>
                    </dgm:if>
                    <dgm:else name="Name28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Arrow" refType="w"/>
                    <dgm:constr type="h" for="ch" forName="childTextArrow" refType="h"/>
                  </dgm:constrLst>
                  <dgm:ruleLst/>
                  <dgm:forEach name="Name29" axis="ch" ptType="node">
                    <dgm:layoutNode name="childTextArrow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30"/>
            </dgm:choose>
          </dgm:layoutNode>
        </dgm:else>
      </dgm:choose>
      <dgm:forEach name="Name31" axis="precedSib" ptType="sibTrans" st="-1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rocess4">
  <dgm:title val=""/>
  <dgm:desc val=""/>
  <dgm:catLst>
    <dgm:cat type="process" pri="16000"/>
    <dgm:cat type="list" pri="2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lin">
      <dgm:param type="linDir" val="fromB"/>
    </dgm:alg>
    <dgm:shape xmlns:r="http://schemas.openxmlformats.org/officeDocument/2006/relationships" r:blip="">
      <dgm:adjLst/>
    </dgm:shape>
    <dgm:presOf/>
    <dgm:constrLst>
      <dgm:constr type="h" for="ch" forName="boxAndChildren" refType="h"/>
      <dgm:constr type="h" for="ch" forName="arrowAndChildren" refType="h" refFor="ch" refForName="boxAndChildren" op="equ" fact="1.538"/>
      <dgm:constr type="w" for="ch" forName="arrowAndChildren" refType="w"/>
      <dgm:constr type="w" for="ch" forName="boxAndChildren" refType="w"/>
      <dgm:constr type="h" for="ch" forName="sp" refType="h" fact="-0.015"/>
      <dgm:constr type="primFontSz" for="des" forName="parentTextBox" val="65"/>
      <dgm:constr type="primFontSz" for="des" forName="parentTextArrow" refType="primFontSz" refFor="des" refForName="parentTextBox" op="equ"/>
      <dgm:constr type="primFontSz" for="des" forName="childTextArrow" val="65"/>
      <dgm:constr type="primFontSz" for="des" forName="childTextBox" refType="primFontSz" refFor="des" refForName="childTextArrow" op="equ"/>
    </dgm:constrLst>
    <dgm:ruleLst/>
    <dgm:forEach name="Name1" axis="ch" ptType="node" st="-1" step="-1">
      <dgm:choose name="Name2">
        <dgm:if name="Name3" axis="self" ptType="node" func="revPos" op="equ" val="1">
          <dgm:layoutNode name="boxAndChildren">
            <dgm:alg type="composite"/>
            <dgm:shape xmlns:r="http://schemas.openxmlformats.org/officeDocument/2006/relationships" r:blip="">
              <dgm:adjLst/>
            </dgm:shape>
            <dgm:presOf/>
            <dgm:choose name="Name4">
              <dgm:if name="Name5" axis="ch" ptType="node" func="cnt" op="gte" val="1">
                <dgm:constrLst>
                  <dgm:constr type="w" for="ch" forName="parentTextBox" refType="w"/>
                  <dgm:constr type="h" for="ch" forName="parentTextBox" refType="h" fact="0.54"/>
                  <dgm:constr type="t" for="ch" forName="parentTextBox"/>
                  <dgm:constr type="w" for="ch" forName="entireBox" refType="w"/>
                  <dgm:constr type="h" for="ch" forName="entireBox" refType="h"/>
                  <dgm:constr type="w" for="ch" forName="descendantBox" refType="w"/>
                  <dgm:constr type="b" for="ch" forName="descendantBox" refType="h" fact="0.98"/>
                  <dgm:constr type="h" for="ch" forName="descendantBox" refType="h" fact="0.46"/>
                </dgm:constrLst>
              </dgm:if>
              <dgm:else name="Name6">
                <dgm:constrLst>
                  <dgm:constr type="w" for="ch" forName="parentTextBox" refType="w"/>
                  <dgm:constr type="h" for="ch" forName="parentTextBox" refType="h"/>
                </dgm:constrLst>
              </dgm:else>
            </dgm:choose>
            <dgm:ruleLst/>
            <dgm:layoutNode name="parentTextBox">
              <dgm:alg type="tx"/>
              <dgm:choose name="Name7">
                <dgm:if name="Name8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9">
                  <dgm:shape xmlns:r="http://schemas.openxmlformats.org/officeDocument/2006/relationships" type="rec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10">
              <dgm:if name="Name11" axis="ch" ptType="node" func="cnt" op="gte" val="1">
                <dgm:layoutNode name="entireBox">
                  <dgm:alg type="sp"/>
                  <dgm:shape xmlns:r="http://schemas.openxmlformats.org/officeDocument/2006/relationships" type="rect" r:blip="">
                    <dgm:adjLst/>
                  </dgm:shape>
                  <dgm:presOf axis="self"/>
                  <dgm:constrLst/>
                  <dgm:ruleLst/>
                </dgm:layoutNode>
                <dgm:layoutNode name="descendantBox" styleLbl="fgAccFollowNode1">
                  <dgm:choose name="Name12">
                    <dgm:if name="Name13" func="var" arg="dir" op="equ" val="norm">
                      <dgm:alg type="lin"/>
                    </dgm:if>
                    <dgm:else name="Name14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Box" refType="w"/>
                    <dgm:constr type="h" for="ch" forName="childTextBox" refType="h"/>
                  </dgm:constrLst>
                  <dgm:ruleLst/>
                  <dgm:forEach name="Name15" axis="ch" ptType="node">
                    <dgm:layoutNode name="childTextBox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16"/>
            </dgm:choose>
          </dgm:layoutNode>
        </dgm:if>
        <dgm:else name="Name17">
          <dgm:layoutNode name="arrowAndChildren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axis="ch" ptType="node" func="cnt" op="gte" val="1">
                <dgm:constrLst>
                  <dgm:constr type="w" for="ch" forName="parentTextArrow" refType="w"/>
                  <dgm:constr type="t" for="ch" forName="parentTextArrow"/>
                  <dgm:constr type="h" for="ch" forName="parentTextArrow" refType="h" fact="0.351"/>
                  <dgm:constr type="w" for="ch" forName="arrow" refType="w"/>
                  <dgm:constr type="h" for="ch" forName="arrow" refType="h"/>
                  <dgm:constr type="w" for="ch" forName="descendantArrow" refType="w"/>
                  <dgm:constr type="b" for="ch" forName="descendantArrow" refType="h" fact="0.65"/>
                  <dgm:constr type="h" for="ch" forName="descendantArrow" refType="h" fact="0.299"/>
                </dgm:constrLst>
              </dgm:if>
              <dgm:else name="Name20">
                <dgm:constrLst>
                  <dgm:constr type="w" for="ch" forName="parentTextArrow" refType="w"/>
                  <dgm:constr type="h" for="ch" forName="parentTextArrow" refType="h"/>
                </dgm:constrLst>
              </dgm:else>
            </dgm:choose>
            <dgm:ruleLst/>
            <dgm:layoutNode name="parentTextArrow">
              <dgm:alg type="tx"/>
              <dgm:choose name="Name21">
                <dgm:if name="Name22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23">
                  <dgm:shape xmlns:r="http://schemas.openxmlformats.org/officeDocument/2006/relationships" rot="180" type="upArrowCallou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24">
              <dgm:if name="Name25" axis="ch" ptType="node" func="cnt" op="gte" val="1">
                <dgm:layoutNode name="arrow">
                  <dgm:alg type="sp"/>
                  <dgm:shape xmlns:r="http://schemas.openxmlformats.org/officeDocument/2006/relationships" rot="180" type="upArrowCallout" r:blip="">
                    <dgm:adjLst/>
                  </dgm:shape>
                  <dgm:presOf axis="self"/>
                  <dgm:constrLst/>
                  <dgm:ruleLst/>
                </dgm:layoutNode>
                <dgm:layoutNode name="descendantArrow">
                  <dgm:choose name="Name26">
                    <dgm:if name="Name27" func="var" arg="dir" op="equ" val="norm">
                      <dgm:alg type="lin"/>
                    </dgm:if>
                    <dgm:else name="Name28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Arrow" refType="w"/>
                    <dgm:constr type="h" for="ch" forName="childTextArrow" refType="h"/>
                  </dgm:constrLst>
                  <dgm:ruleLst/>
                  <dgm:forEach name="Name29" axis="ch" ptType="node">
                    <dgm:layoutNode name="childTextArrow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30"/>
            </dgm:choose>
          </dgm:layoutNode>
        </dgm:else>
      </dgm:choose>
      <dgm:forEach name="Name31" axis="precedSib" ptType="sibTrans" st="-1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ycle6">
  <dgm:title val=""/>
  <dgm:desc val=""/>
  <dgm:catLst>
    <dgm:cat type="cycle" pri="4000"/>
    <dgm:cat type="relationship" pri="2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  <dgm:param type="endSty" val="noArr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01"/>
                <dgm:constr type="endPad" refType="connDist" fact="0.01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8/layout/RadialCluster">
  <dgm:title val=""/>
  <dgm:desc val=""/>
  <dgm:catLst>
    <dgm:cat type="relationship" pri="19500"/>
    <dgm:cat type="cycle" pri="1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chMax val="1"/>
      <dgm:chPref val="1"/>
      <dgm:dir/>
      <dgm:animOne val="branch"/>
      <dgm:animLvl val="lvl"/>
    </dgm:varLst>
    <dgm:alg type="composite">
      <dgm:param type="ar" val="1.00"/>
    </dgm:alg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 ch" ptType="node node" cnt="1 0" func="cnt" op="equ" val="1">
            <dgm:constrLst>
              <dgm:constr type="l" for="ch" forName="textCenter"/>
              <dgm:constr type="ctrY" for="ch" forName="textCenter" refType="h" fact="0.5"/>
              <dgm:constr type="w" for="ch" forName="textCenter" refType="w" fact="0.32"/>
              <dgm:constr type="h" for="ch" forName="textCenter" refType="w" refFor="ch" refForName="textCenter"/>
              <dgm:constr type="r" for="ch" forName="cycle_1" refType="w"/>
              <dgm:constr type="ctrY" for="ch" forName="cycle_1" refType="h" fact="0.5"/>
              <dgm:constr type="w" for="ch" forName="cycle_1" refType="w" fact="0.56"/>
              <dgm:constr type="h" for="ch" forName="cycle_1" refType="h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userS" for="des" ptType="node" refType="w" refFor="ch" refForName="textCenter" fact="0.67"/>
            </dgm:constrLst>
          </dgm:if>
          <dgm:if name="Name5" axis="ch ch" ptType="node node" cnt="1 0" func="cnt" op="equ" val="2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5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/>
              <dgm:constr type="h" for="ch" forName="cycle_1" refType="h" fact="0.34"/>
              <dgm:constr type="ctrX" for="ch" forName="cycle_2" refType="w" fact="0.5"/>
              <dgm:constr type="b" for="ch" forName="cycle_2" refType="h"/>
              <dgm:constr type="w" for="ch" forName="cycle_2" refType="w"/>
              <dgm:constr type="h" for="ch" forName="cycle_2" refType="h" fact="0.34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userS" for="des" ptType="node" refType="w" refFor="ch" refForName="textCenter" fact="0.67"/>
            </dgm:constrLst>
          </dgm:if>
          <dgm:if name="Name6" axis="ch ch" ptType="node node" cnt="1 0" func="cnt" op="equ" val="3">
            <dgm:choose name="Name7">
              <dgm:if name="Name8" axis="ch ch ch" ptType="node node node" st="1 2 0" cnt="1 1 0" func="cnt" op="equ" val="1">
                <dgm:choose name="Name9">
                  <dgm:if name="Name10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1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if>
              <dgm:else name="Name12">
                <dgm:choose name="Name13">
                  <dgm:if name="Name14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15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else>
            </dgm:choose>
          </dgm:if>
          <dgm:if name="Name16" axis="ch ch" ptType="node node" cnt="1 0" func="cnt" op="equ" val="4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5"/>
              <dgm:constr type="h" for="ch" forName="cycle_1" refType="h" fact="0.33"/>
              <dgm:constr type="r" for="ch" forName="cycle_2" refType="w"/>
              <dgm:constr type="ctrY" for="ch" forName="cycle_2" refType="h" fact="0.5"/>
              <dgm:constr type="w" for="ch" forName="cycle_2" refType="w" fact="0.33"/>
              <dgm:constr type="h" for="ch" forName="cycle_2" refType="h" fact="0.5"/>
              <dgm:constr type="ctrX" for="ch" forName="cycle_3" refType="w" fact="0.5"/>
              <dgm:constr type="b" for="ch" forName="cycle_3" refType="h"/>
              <dgm:constr type="w" for="ch" forName="cycle_3" refType="w" fact="0.5"/>
              <dgm:constr type="h" for="ch" forName="cycle_3" refType="h" fact="0.33"/>
              <dgm:constr type="l" for="ch" forName="cycle_4"/>
              <dgm:constr type="ctrY" for="ch" forName="cycle_4" refType="h" fact="0.5"/>
              <dgm:constr type="w" for="ch" forName="cycle_4" refType="w" fact="0.33"/>
              <dgm:constr type="h" for="ch" forName="cycle_4" refType="h" fact="0.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userS" for="des" ptType="node" refType="w" refFor="ch" refForName="textCenter" fact="0.67"/>
            </dgm:constrLst>
          </dgm:if>
          <dgm:if name="Name17" axis="ch ch" ptType="node node" cnt="1 0" func="cnt" op="equ" val="5">
            <dgm:constrLst>
              <dgm:constr type="ctrX" for="ch" forName="textCenter" refType="w" fact="0.5"/>
              <dgm:constr type="t" for="ch" forName="textCenter" refType="h" fact="0.42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r" for="ch" forName="cycle_2" refType="w"/>
              <dgm:constr type="t" for="ch" forName="cycle_2" refType="h" fact="0.24"/>
              <dgm:constr type="w" for="ch" forName="cycle_2" refType="w" fact="0.33"/>
              <dgm:constr type="h" for="ch" forName="cycle_2" refType="w" refFor="ch" refForName="cycle_2"/>
              <dgm:constr type="r" for="ch" forName="cycle_3" refType="w" fact="0.89"/>
              <dgm:constr type="b" for="ch" forName="cycle_3" refType="h"/>
              <dgm:constr type="w" for="ch" forName="cycle_3" refType="w" fact="0.33"/>
              <dgm:constr type="h" for="ch" forName="cycle_3" refType="w" refFor="ch" refForName="cycle_3"/>
              <dgm:constr type="l" for="ch" forName="cycle_4" refType="w" fact="0.11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l" for="ch" forName="cycle_5"/>
              <dgm:constr type="t" for="ch" forName="cycle_5" refType="h" fact="0.24"/>
              <dgm:constr type="w" for="ch" forName="cycle_5" refType="w" fact="0.33"/>
              <dgm:constr type="h" for="ch" forName="cycle_5" refType="w" refFor="ch" refForName="cycle_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userS" for="des" ptType="node" refType="w" refFor="ch" refForName="textCenter" fact="0.67"/>
            </dgm:constrLst>
          </dgm:if>
          <dgm:if name="Name18" axis="ch ch" ptType="node node" cnt="1 0" func="cnt" op="equ" val="6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r" for="ch" forName="cycle_2" refType="w"/>
              <dgm:constr type="t" for="ch" forName="cycle_2" refType="h" fact="0.17"/>
              <dgm:constr type="w" for="ch" forName="cycle_2" refType="w" fact="0.33"/>
              <dgm:constr type="h" for="ch" forName="cycle_2" refType="w" refFor="ch" refForName="cycle_2"/>
              <dgm:constr type="r" for="ch" forName="cycle_3" refType="w"/>
              <dgm:constr type="b" for="ch" forName="cycle_3" refType="h" fact="0.83"/>
              <dgm:constr type="w" for="ch" forName="cycle_3" refType="w" fact="0.33"/>
              <dgm:constr type="h" for="ch" forName="cycle_3" refType="w" refFor="ch" refForName="cycle_3"/>
              <dgm:constr type="ctrX" for="ch" forName="cycle_4" refType="w" fact="0.5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l" for="ch" forName="cycle_5"/>
              <dgm:constr type="b" for="ch" forName="cycle_5" refType="h" fact="0.83"/>
              <dgm:constr type="w" for="ch" forName="cycle_5" refType="w" fact="0.33"/>
              <dgm:constr type="h" for="ch" forName="cycle_5" refType="w" refFor="ch" refForName="cycle_5"/>
              <dgm:constr type="l" for="ch" forName="cycle_6"/>
              <dgm:constr type="t" for="ch" forName="cycle_6" refType="h" fact="0.17"/>
              <dgm:constr type="w" for="ch" forName="cycle_6" refType="w" fact="0.33"/>
              <dgm:constr type="h" for="ch" forName="cycle_6" refType="w" refFor="ch" refForName="cycle_6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userS" for="des" ptType="node" refType="w" refFor="ch" refForName="textCenter" fact="0.67"/>
            </dgm:constrLst>
          </dgm:if>
          <dgm:else name="Name19">
            <dgm:constrLst>
              <dgm:constr type="ctrX" for="ch" forName="textCenter" refType="w" fact="0.5"/>
              <dgm:constr type="t" for="ch" forName="textCenter" refType="h" fact="0.444"/>
              <dgm:constr type="w" for="ch" forName="textCenter" refType="w" fact="0.167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263"/>
              <dgm:constr type="h" for="ch" forName="cycle_1" refType="w" refFor="ch" refForName="cycle_1"/>
              <dgm:constr type="r" for="ch" forName="cycle_2" refType="w" fact="0.938"/>
              <dgm:constr type="t" for="ch" forName="cycle_2" refType="h" fact="0.141"/>
              <dgm:constr type="w" for="ch" forName="cycle_2" refType="w" fact="0.263"/>
              <dgm:constr type="h" for="ch" forName="cycle_2" refType="w" refFor="ch" refForName="cycle_2"/>
              <dgm:constr type="r" for="ch" forName="cycle_3" refType="w"/>
              <dgm:constr type="b" for="ch" forName="cycle_3" refType="h" fact="0.74"/>
              <dgm:constr type="w" for="ch" forName="cycle_3" refType="w" fact="0.263"/>
              <dgm:constr type="h" for="ch" forName="cycle_3" refType="w" refFor="ch" refForName="cycle_3"/>
              <dgm:constr type="r" for="ch" forName="cycle_4" refType="w" fact="0.8"/>
              <dgm:constr type="b" for="ch" forName="cycle_4" refType="h"/>
              <dgm:constr type="w" for="ch" forName="cycle_4" refType="w" fact="0.263"/>
              <dgm:constr type="h" for="ch" forName="cycle_4" refType="w" refFor="ch" refForName="cycle_4"/>
              <dgm:constr type="l" for="ch" forName="cycle_5" refType="w" fact="0.2"/>
              <dgm:constr type="b" for="ch" forName="cycle_5" refType="h"/>
              <dgm:constr type="w" for="ch" forName="cycle_5" refType="w" fact="0.263"/>
              <dgm:constr type="h" for="ch" forName="cycle_5" refType="w" refFor="ch" refForName="cycle_5"/>
              <dgm:constr type="l" for="ch" forName="cycle_6"/>
              <dgm:constr type="b" for="ch" forName="cycle_6" refType="h" fact="0.74"/>
              <dgm:constr type="w" for="ch" forName="cycle_6" refType="w" fact="0.263"/>
              <dgm:constr type="h" for="ch" forName="cycle_6" refType="w" refFor="ch" refForName="cycle_6"/>
              <dgm:constr type="l" for="ch" forName="cycle_7" refType="w" fact="0.062"/>
              <dgm:constr type="t" for="ch" forName="cycle_7" refType="h" fact="0.141"/>
              <dgm:constr type="w" for="ch" forName="cycle_7" refType="w" fact="0.263"/>
              <dgm:constr type="h" for="ch" forName="cycle_7" refType="w" refFor="ch" refForName="cycle_7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primFontSz" for="des" forName="childCenter7" refType="primFontSz" refFor="des" refForName="childCenter1" op="equ"/>
              <dgm:constr type="primFontSz" for="des" forName="text7" refType="primFontSz" refFor="des" refForName="text1" op="equ"/>
              <dgm:constr type="userS" for="des" ptType="node" refType="w" refFor="ch" refForName="textCenter" fact="0.67"/>
            </dgm:constrLst>
          </dgm:else>
        </dgm:choose>
      </dgm:if>
      <dgm:else name="Name20">
        <dgm:choose name="Name21">
          <dgm:if name="Name22" axis="ch ch" ptType="node node" func="cnt" op="equ" val="1">
            <dgm:constrLst>
              <dgm:constr type="r" for="ch" forName="textCenter" refType="w"/>
              <dgm:constr type="ctrY" for="ch" forName="textCenter" refType="h" fact="0.5"/>
              <dgm:constr type="w" for="ch" forName="textCenter" refType="w" fact="0.32"/>
              <dgm:constr type="h" for="ch" forName="textCenter" refType="w" refFor="ch" refForName="textCenter"/>
              <dgm:constr type="l" for="ch" forName="cycle_1"/>
              <dgm:constr type="ctrY" for="ch" forName="cycle_1" refType="h" fact="0.5"/>
              <dgm:constr type="w" for="ch" forName="cycle_1" refType="w" fact="0.56"/>
              <dgm:constr type="h" for="ch" forName="cycle_1" refType="h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userS" for="des" ptType="node" refType="w" refFor="ch" refForName="textCenter" fact="0.67"/>
            </dgm:constrLst>
          </dgm:if>
          <dgm:if name="Name23" axis="ch ch" ptType="node node" func="cnt" op="equ" val="2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5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/>
              <dgm:constr type="h" for="ch" forName="cycle_1" refType="h" fact="0.34"/>
              <dgm:constr type="ctrX" for="ch" forName="cycle_2" refType="w" fact="0.5"/>
              <dgm:constr type="b" for="ch" forName="cycle_2" refType="h"/>
              <dgm:constr type="w" for="ch" forName="cycle_2" refType="w"/>
              <dgm:constr type="h" for="ch" forName="cycle_2" refType="h" fact="0.34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userS" for="des" ptType="node" refType="w" refFor="ch" refForName="textCenter" fact="0.67"/>
            </dgm:constrLst>
          </dgm:if>
          <dgm:if name="Name24" axis="ch ch" ptType="node node" func="cnt" op="equ" val="3">
            <dgm:choose name="Name25">
              <dgm:if name="Name26" axis="ch ch ch" ptType="node node node" st="1 2 0" cnt="1 1 0" func="cnt" op="equ" val="1">
                <dgm:choose name="Name27">
                  <dgm:if name="Name28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29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if>
              <dgm:else name="Name30">
                <dgm:choose name="Name31">
                  <dgm:if name="Name32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33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else>
            </dgm:choose>
          </dgm:if>
          <dgm:if name="Name34" axis="ch ch" ptType="node node" func="cnt" op="equ" val="4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5"/>
              <dgm:constr type="h" for="ch" forName="cycle_1" refType="h" fact="0.33"/>
              <dgm:constr type="l" for="ch" forName="cycle_2"/>
              <dgm:constr type="ctrY" for="ch" forName="cycle_2" refType="h" fact="0.5"/>
              <dgm:constr type="w" for="ch" forName="cycle_2" refType="w" fact="0.33"/>
              <dgm:constr type="h" for="ch" forName="cycle_2" refType="h" fact="0.5"/>
              <dgm:constr type="ctrX" for="ch" forName="cycle_3" refType="w" fact="0.5"/>
              <dgm:constr type="b" for="ch" forName="cycle_3" refType="h"/>
              <dgm:constr type="w" for="ch" forName="cycle_3" refType="w" fact="0.5"/>
              <dgm:constr type="h" for="ch" forName="cycle_3" refType="h" fact="0.33"/>
              <dgm:constr type="r" for="ch" forName="cycle_4" refType="w"/>
              <dgm:constr type="ctrY" for="ch" forName="cycle_4" refType="h" fact="0.5"/>
              <dgm:constr type="w" for="ch" forName="cycle_4" refType="w" fact="0.33"/>
              <dgm:constr type="h" for="ch" forName="cycle_4" refType="h" fact="0.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userS" for="des" ptType="node" refType="w" refFor="ch" refForName="textCenter" fact="0.67"/>
            </dgm:constrLst>
          </dgm:if>
          <dgm:if name="Name35" axis="ch ch" ptType="node node" func="cnt" op="equ" val="5">
            <dgm:constrLst>
              <dgm:constr type="ctrX" for="ch" forName="textCenter" refType="w" fact="0.5"/>
              <dgm:constr type="t" for="ch" forName="textCenter" refType="h" fact="0.42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l" for="ch" forName="cycle_2"/>
              <dgm:constr type="t" for="ch" forName="cycle_2" refType="h" fact="0.24"/>
              <dgm:constr type="w" for="ch" forName="cycle_2" refType="w" fact="0.33"/>
              <dgm:constr type="h" for="ch" forName="cycle_2" refType="w" refFor="ch" refForName="cycle_2"/>
              <dgm:constr type="l" for="ch" forName="cycle_3" refType="w" fact="0.11"/>
              <dgm:constr type="b" for="ch" forName="cycle_3" refType="h"/>
              <dgm:constr type="w" for="ch" forName="cycle_3" refType="w" fact="0.33"/>
              <dgm:constr type="h" for="ch" forName="cycle_3" refType="w" refFor="ch" refForName="cycle_3"/>
              <dgm:constr type="r" for="ch" forName="cycle_4" refType="w" fact="0.89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r" for="ch" forName="cycle_5" refType="w"/>
              <dgm:constr type="t" for="ch" forName="cycle_5" refType="h" fact="0.24"/>
              <dgm:constr type="w" for="ch" forName="cycle_5" refType="w" fact="0.33"/>
              <dgm:constr type="h" for="ch" forName="cycle_5" refType="w" refFor="ch" refForName="cycle_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userS" for="des" ptType="node" refType="w" refFor="ch" refForName="textCenter" fact="0.67"/>
            </dgm:constrLst>
          </dgm:if>
          <dgm:if name="Name36" axis="ch ch" ptType="node node" func="cnt" op="equ" val="6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l" for="ch" forName="cycle_2"/>
              <dgm:constr type="t" for="ch" forName="cycle_2" refType="h" fact="0.17"/>
              <dgm:constr type="w" for="ch" forName="cycle_2" refType="w" fact="0.33"/>
              <dgm:constr type="h" for="ch" forName="cycle_2" refType="w" refFor="ch" refForName="cycle_2"/>
              <dgm:constr type="l" for="ch" forName="cycle_3"/>
              <dgm:constr type="b" for="ch" forName="cycle_3" refType="h" fact="0.83"/>
              <dgm:constr type="w" for="ch" forName="cycle_3" refType="w" fact="0.33"/>
              <dgm:constr type="h" for="ch" forName="cycle_3" refType="w" refFor="ch" refForName="cycle_3"/>
              <dgm:constr type="ctrX" for="ch" forName="cycle_4" refType="w" fact="0.5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r" for="ch" forName="cycle_5" refType="w"/>
              <dgm:constr type="b" for="ch" forName="cycle_5" refType="h" fact="0.83"/>
              <dgm:constr type="w" for="ch" forName="cycle_5" refType="w" fact="0.33"/>
              <dgm:constr type="h" for="ch" forName="cycle_5" refType="w" refFor="ch" refForName="cycle_5"/>
              <dgm:constr type="r" for="ch" forName="cycle_6" refType="w"/>
              <dgm:constr type="t" for="ch" forName="cycle_6" refType="h" fact="0.17"/>
              <dgm:constr type="w" for="ch" forName="cycle_6" refType="w" fact="0.33"/>
              <dgm:constr type="h" for="ch" forName="cycle_6" refType="w" refFor="ch" refForName="cycle_6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userS" for="des" ptType="node" refType="w" refFor="ch" refForName="textCenter" fact="0.67"/>
            </dgm:constrLst>
          </dgm:if>
          <dgm:else name="Name37">
            <dgm:constrLst>
              <dgm:constr type="ctrX" for="ch" forName="textCenter" refType="w" fact="0.5"/>
              <dgm:constr type="t" for="ch" forName="textCenter" refType="h" fact="0.444"/>
              <dgm:constr type="w" for="ch" forName="textCenter" refType="w" fact="0.167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263"/>
              <dgm:constr type="h" for="ch" forName="cycle_1" refType="w" refFor="ch" refForName="cycle_1"/>
              <dgm:constr type="l" for="ch" forName="cycle_2" refType="w" fact="0.062"/>
              <dgm:constr type="t" for="ch" forName="cycle_2" refType="h" fact="0.141"/>
              <dgm:constr type="w" for="ch" forName="cycle_2" refType="w" fact="0.263"/>
              <dgm:constr type="h" for="ch" forName="cycle_2" refType="w" refFor="ch" refForName="cycle_2"/>
              <dgm:constr type="l" for="ch" forName="cycle_3"/>
              <dgm:constr type="b" for="ch" forName="cycle_3" refType="h" fact="0.74"/>
              <dgm:constr type="w" for="ch" forName="cycle_3" refType="w" fact="0.263"/>
              <dgm:constr type="h" for="ch" forName="cycle_3" refType="w" refFor="ch" refForName="cycle_3"/>
              <dgm:constr type="l" for="ch" forName="cycle_4" refType="w" fact="0.2"/>
              <dgm:constr type="b" for="ch" forName="cycle_4" refType="h"/>
              <dgm:constr type="w" for="ch" forName="cycle_4" refType="w" fact="0.263"/>
              <dgm:constr type="h" for="ch" forName="cycle_4" refType="w" refFor="ch" refForName="cycle_4"/>
              <dgm:constr type="r" for="ch" forName="cycle_5" refType="w" fact="0.8"/>
              <dgm:constr type="b" for="ch" forName="cycle_5" refType="h"/>
              <dgm:constr type="w" for="ch" forName="cycle_5" refType="w" fact="0.263"/>
              <dgm:constr type="h" for="ch" forName="cycle_5" refType="w" refFor="ch" refForName="cycle_5"/>
              <dgm:constr type="r" for="ch" forName="cycle_6" refType="w"/>
              <dgm:constr type="b" for="ch" forName="cycle_6" refType="h" fact="0.74"/>
              <dgm:constr type="w" for="ch" forName="cycle_6" refType="w" fact="0.263"/>
              <dgm:constr type="h" for="ch" forName="cycle_6" refType="w" refFor="ch" refForName="cycle_6"/>
              <dgm:constr type="r" for="ch" forName="cycle_7" refType="w" fact="0.938"/>
              <dgm:constr type="t" for="ch" forName="cycle_7" refType="h" fact="0.141"/>
              <dgm:constr type="w" for="ch" forName="cycle_7" refType="w" fact="0.263"/>
              <dgm:constr type="h" for="ch" forName="cycle_7" refType="w" refFor="ch" refForName="cycle_7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primFontSz" for="des" forName="childCenter7" refType="primFontSz" refFor="des" refForName="childCenter1" op="equ"/>
              <dgm:constr type="primFontSz" for="des" forName="text7" refType="primFontSz" refFor="des" refForName="text1" op="equ"/>
              <dgm:constr type="userS" for="des" ptType="node" refType="w" refFor="ch" refForName="textCenter" fact="0.67"/>
            </dgm:constrLst>
          </dgm:else>
        </dgm:choose>
      </dgm:else>
    </dgm:choose>
    <dgm:forEach name="Name38" axis="ch" ptType="node" cnt="1">
      <dgm:choose name="Name39">
        <dgm:if name="Name40" axis="des" func="maxDepth" op="lte" val="1">
          <dgm:layoutNode name="singleCycle">
            <dgm:choose name="Name41">
              <dgm:if name="Name42" axis="ch" ptType="node" func="cnt" op="equ" val="1">
                <dgm:choose name="Name43">
                  <dgm:if name="Name44" func="var" arg="dir" op="equ" val="norm">
                    <dgm:alg type="cycle">
                      <dgm:param type="stAng" val="90"/>
                      <dgm:param type="ctrShpMap" val="fNode"/>
                    </dgm:alg>
                  </dgm:if>
                  <dgm:else name="Name45">
                    <dgm:alg type="cycle">
                      <dgm:param type="stAng" val="-90"/>
                      <dgm:param type="spanAng" val="-360"/>
                      <dgm:param type="ctrShpMap" val="fNode"/>
                    </dgm:alg>
                  </dgm:else>
                </dgm:choose>
              </dgm:if>
              <dgm:else name="Name46">
                <dgm:choose name="Name47">
                  <dgm:if name="Name48" func="var" arg="dir" op="equ" val="norm">
                    <dgm:alg type="cycle">
                      <dgm:param type="ctrShpMap" val="fNode"/>
                    </dgm:alg>
                  </dgm:if>
                  <dgm:else name="Name49">
                    <dgm:alg type="cycle">
                      <dgm:param type="spanAng" val="-360"/>
                      <dgm:param type="ctrShpMap" val="fNode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hoose name="Name50">
              <dgm:if name="Name51" axis="ch" ptType="node" func="cnt" op="equ" val="0">
                <dgm:constrLst>
                  <dgm:constr type="w" for="ch" forName="singleCenter" refType="w"/>
                  <dgm:constr type="h" for="ch" forName="singleCenter" refType="w" refFor="ch" refForName="singleCenter"/>
                </dgm:constrLst>
              </dgm:if>
              <dgm:if name="Name52" axis="ch" ptType="node" func="cnt" op="equ" val="1">
                <dgm:constrLst>
                  <dgm:constr type="w" for="ch" forName="singleCenter" refType="w" fact="0.5"/>
                  <dgm:constr type="h" for="ch" forName="singleCenter" refType="w" refFor="ch" refForName="singleCenter"/>
                  <dgm:constr type="userS" for="ch" ptType="node" refType="w" refFor="ch" refForName="singleCenter" fact="0.67"/>
                </dgm:constrLst>
              </dgm:if>
              <dgm:else name="Name53">
                <dgm:constrLst>
                  <dgm:constr type="w" for="ch" forName="singleCenter" refType="w" fact="0.3"/>
                  <dgm:constr type="h" for="ch" forName="singleCenter" refType="w" refFor="ch" refForName="singleCenter"/>
                  <dgm:constr type="userS" for="ch" ptType="node" refType="w" refFor="ch" refForName="singleCenter" fact="0.67"/>
                </dgm:constrLst>
              </dgm:else>
            </dgm:choose>
            <dgm:layoutNode name="singleCenter" styleLbl="node1">
              <dgm:varLst>
                <dgm:chMax val="7"/>
                <dgm:chPref val="7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self" ptType="node"/>
              <dgm:constrLst>
                <dgm:constr type="tMarg" refType="primFontSz" fact="0.2"/>
                <dgm:constr type="bMarg" refType="primFontSz" fact="0.2"/>
                <dgm:constr type="lMarg" refType="primFontSz" fact="0.2"/>
                <dgm:constr type="rMarg" refType="primFontSz" fact="0.2"/>
              </dgm:constrLst>
              <dgm:ruleLst>
                <dgm:rule type="primFontSz" val="5" fact="NaN" max="NaN"/>
              </dgm:ruleLst>
            </dgm:layoutNode>
            <dgm:forEach name="Name54" axis="ch" cnt="21">
              <dgm:forEach name="Name55" axis="self" ptType="parTrans">
                <dgm:layoutNode name="Name56">
                  <dgm:alg type="conn">
                    <dgm:param type="dim" val="1D"/>
                    <dgm:param type="begPts" val="auto"/>
                    <dgm:param type="endPts" val="auto"/>
                    <dgm:param type="begSty" val="noArr"/>
                    <dgm:param type="endSty" val="noArr"/>
                  </dgm:alg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</dgm:layoutNode>
              </dgm:forEach>
              <dgm:forEach name="Name57" axis="self" ptType="node">
                <dgm:layoutNode name="text0" styleLbl="node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/>
                  </dgm:shape>
                  <dgm:presOf axis="desOrSelf" ptType="node"/>
                  <dgm:constrLst>
                    <dgm:constr type="userS"/>
                    <dgm:constr type="w" refType="userS"/>
                    <dgm:constr type="h" refType="w"/>
                    <dgm:constr type="tMarg" refType="primFontSz" fact="0.2"/>
                    <dgm:constr type="bMarg" refType="primFontSz" fact="0.2"/>
                    <dgm:constr type="lMarg" refType="primFontSz" fact="0.2"/>
                    <dgm:constr type="rMarg" refType="primFontSz" fact="0.2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if>
        <dgm:else name="Name58">
          <dgm:layoutNode name="textCenter" styleLbl="node1">
            <dgm:alg type="tx"/>
            <dgm:shape xmlns:r="http://schemas.openxmlformats.org/officeDocument/2006/relationships" type="roundRect" r:blip="">
              <dgm:adjLst/>
            </dgm:shape>
            <dgm:presOf axis="self" ptType="node"/>
            <dgm:constrLst>
              <dgm:constr type="tMarg" refType="primFontSz" fact="0.2"/>
              <dgm:constr type="bMarg" refType="primFontSz" fact="0.2"/>
              <dgm:constr type="lMarg" refType="primFontSz" fact="0.2"/>
              <dgm:constr type="rMarg" refType="primFontSz" fact="0.2"/>
            </dgm:constrLst>
            <dgm:ruleLst>
              <dgm:rule type="primFontSz" val="5" fact="NaN" max="NaN"/>
            </dgm:ruleLst>
          </dgm:layoutNode>
          <dgm:choose name="Name59">
            <dgm:if name="Name60" axis="ch" ptType="node" func="cnt" op="gte" val="1">
              <dgm:layoutNode name="cycle_1">
                <dgm:choose name="Name61">
                  <dgm:if name="Name62" func="var" arg="dir" op="equ" val="norm">
                    <dgm:choose name="Name63">
                      <dgm:if name="Name64" axis="ch" ptType="node" func="cnt" op="equ" val="1">
                        <dgm:choose name="Name65">
                          <dgm:if name="Name66" axis="ch ch" ptType="node node" st="1 1" cnt="1 0" func="cnt" op="equ" val="1">
                            <dgm:alg type="cycle">
                              <dgm:param type="ctrShpMap" val="fNode"/>
                              <dgm:param type="stAng" val="90"/>
                            </dgm:alg>
                          </dgm:if>
                          <dgm:if name="Name67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90"/>
                            </dgm:alg>
                          </dgm:if>
                          <dgm:else name="Name68">
                            <dgm:alg type="cycle">
                              <dgm:param type="ctrShpMap" val="fNode"/>
                              <dgm:param type="stAng" val="0"/>
                              <dgm:param type="spanAng" val="180"/>
                            </dgm:alg>
                          </dgm:else>
                        </dgm:choose>
                      </dgm:if>
                      <dgm:if name="Name69" axis="ch" ptType="node" func="cnt" op="equ" val="2">
                        <dgm:choose name="Name70">
                          <dgm:if name="Name71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72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73">
                            <dgm:alg type="cycle">
                              <dgm:param type="ctrShpMap" val="fNode"/>
                              <dgm:param type="stAng" val="270"/>
                              <dgm:param type="spanAng" val="180"/>
                            </dgm:alg>
                          </dgm:else>
                        </dgm:choose>
                      </dgm:if>
                      <dgm:if name="Name74" axis="ch" ptType="node" func="cnt" op="equ" val="3">
                        <dgm:choose name="Name75">
                          <dgm:if name="Name76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77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78">
                            <dgm:alg type="cycle">
                              <dgm:param type="ctrShpMap" val="fNode"/>
                              <dgm:param type="stAng" val="270"/>
                              <dgm:param type="spanAng" val="180"/>
                            </dgm:alg>
                          </dgm:else>
                        </dgm:choose>
                      </dgm:if>
                      <dgm:if name="Name79" axis="ch" ptType="node" func="cnt" op="equ" val="4">
                        <dgm:choose name="Name80">
                          <dgm:if name="Name81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82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83">
                            <dgm:alg type="cycle">
                              <dgm:param type="ctrShpMap" val="fNode"/>
                              <dgm:param type="stAng" val="292.5"/>
                              <dgm:param type="spanAng" val="135"/>
                            </dgm:alg>
                          </dgm:else>
                        </dgm:choose>
                      </dgm:if>
                      <dgm:if name="Name84" axis="ch" ptType="node" func="cnt" op="equ" val="5">
                        <dgm:choose name="Name85">
                          <dgm:if name="Name86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87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88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89" axis="ch" ptType="node" func="cnt" op="equ" val="6">
                        <dgm:choose name="Name90">
                          <dgm:if name="Name91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92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93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94" axis="ch" ptType="node" func="cnt" op="gte" val="7">
                        <dgm:choose name="Name95">
                          <dgm:if name="Name96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97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98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99"/>
                    </dgm:choose>
                  </dgm:if>
                  <dgm:else name="Name100">
                    <dgm:choose name="Name101">
                      <dgm:if name="Name102" axis="ch" ptType="node" func="cnt" op="equ" val="1">
                        <dgm:choose name="Name103">
                          <dgm:if name="Name104" axis="ch ch" ptType="node node" st="1 1" cnt="1 0" func="cnt" op="equ" val="1">
                            <dgm:alg type="cycle">
                              <dgm:param type="ctrShpMap" val="fNode"/>
                              <dgm:param type="stAng" val="270"/>
                            </dgm:alg>
                          </dgm:if>
                          <dgm:if name="Name105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-90"/>
                            </dgm:alg>
                          </dgm:if>
                          <dgm:else name="Name106">
                            <dgm:alg type="cycle">
                              <dgm:param type="ctrShpMap" val="fNode"/>
                              <dgm:param type="stAng" val="0"/>
                              <dgm:param type="spanAng" val="-180"/>
                            </dgm:alg>
                          </dgm:else>
                        </dgm:choose>
                      </dgm:if>
                      <dgm:if name="Name107" axis="ch" ptType="node" func="cnt" op="equ" val="2">
                        <dgm:choose name="Name108">
                          <dgm:if name="Name109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10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11">
                            <dgm:alg type="cycle">
                              <dgm:param type="ctrShpMap" val="fNode"/>
                              <dgm:param type="stAng" val="90"/>
                              <dgm:param type="spanAng" val="-180"/>
                            </dgm:alg>
                          </dgm:else>
                        </dgm:choose>
                      </dgm:if>
                      <dgm:if name="Name112" axis="ch" ptType="node" func="cnt" op="equ" val="3">
                        <dgm:choose name="Name113">
                          <dgm:if name="Name114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15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16">
                            <dgm:alg type="cycle">
                              <dgm:param type="ctrShpMap" val="fNode"/>
                              <dgm:param type="stAng" val="90"/>
                              <dgm:param type="spanAng" val="-180"/>
                            </dgm:alg>
                          </dgm:else>
                        </dgm:choose>
                      </dgm:if>
                      <dgm:if name="Name117" axis="ch" ptType="node" func="cnt" op="equ" val="4">
                        <dgm:choose name="Name118">
                          <dgm:if name="Name119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20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21">
                            <dgm:alg type="cycle">
                              <dgm:param type="ctrShpMap" val="fNode"/>
                              <dgm:param type="stAng" val="67.5"/>
                              <dgm:param type="spanAng" val="-135"/>
                            </dgm:alg>
                          </dgm:else>
                        </dgm:choose>
                      </dgm:if>
                      <dgm:if name="Name122" axis="ch" ptType="node" func="cnt" op="equ" val="5">
                        <dgm:choose name="Name123">
                          <dgm:if name="Name124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25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26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127" axis="ch" ptType="node" func="cnt" op="equ" val="6">
                        <dgm:choose name="Name128">
                          <dgm:if name="Name129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30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31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132" axis="ch" ptType="node" func="cnt" op="gte" val="7">
                        <dgm:choose name="Name133">
                          <dgm:if name="Name134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35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36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137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138" axis="ch" ptType="node" cnt="1">
                  <dgm:layoutNode name="childCenter1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139" axis="ch">
                    <dgm:forEach name="Name140" axis="self" ptType="parTrans">
                      <dgm:layoutNode name="Name141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142" axis="self" ptType="node">
                      <dgm:layoutNode name="text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143" axis="ch" ptType="parTrans" cnt="1">
                <dgm:layoutNode name="Name144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1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145"/>
          </dgm:choose>
          <dgm:choose name="Name146">
            <dgm:if name="Name147" axis="ch" ptType="node" func="cnt" op="gte" val="2">
              <dgm:layoutNode name="cycle_2">
                <dgm:choose name="Name148">
                  <dgm:if name="Name149" func="var" arg="dir" op="equ" val="norm">
                    <dgm:choose name="Name150">
                      <dgm:if name="Name151" axis="ch" ptType="node" func="cnt" op="equ" val="2">
                        <dgm:choose name="Name152">
                          <dgm:if name="Name153" axis="ch ch" ptType="node node" st="2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154" axis="ch ch" ptType="node node" st="2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90"/>
                            </dgm:alg>
                          </dgm:if>
                          <dgm:else name="Name155">
                            <dgm:alg type="cycle">
                              <dgm:param type="ctrShpMap" val="fNode"/>
                              <dgm:param type="stAng" val="90"/>
                              <dgm:param type="spanAng" val="180"/>
                            </dgm:alg>
                          </dgm:else>
                        </dgm:choose>
                      </dgm:if>
                      <dgm:if name="Name156" axis="ch" ptType="node" func="cnt" op="equ" val="3">
                        <dgm:choose name="Name157">
                          <dgm:if name="Name158" axis="ch ch" ptType="node node" st="2 1" cnt="1 0" func="cnt" op="equ" val="1">
                            <dgm:alg type="cycle">
                              <dgm:param type="ctrShpMap" val="fNode"/>
                              <dgm:param type="stAng" val="120"/>
                              <dgm:param type="horzAlign" val="r"/>
                              <dgm:param type="vertAlign" val="b"/>
                            </dgm:alg>
                          </dgm:if>
                          <dgm:if name="Name159" axis="ch ch" ptType="node node" st="2 1" cnt="1 0" func="cnt" op="equ" val="2">
                            <dgm:alg type="cycle">
                              <dgm:param type="ctrShpMap" val="fNode"/>
                              <dgm:param type="stAng" val="75"/>
                              <dgm:param type="spanAng" val="90"/>
                              <dgm:param type="horzAlign" val="r"/>
                              <dgm:param type="vertAlign" val="b"/>
                            </dgm:alg>
                          </dgm:if>
                          <dgm:else name="Name160">
                            <dgm:alg type="cycle">
                              <dgm:param type="ctrShpMap" val="fNode"/>
                              <dgm:param type="stAng" val="30"/>
                              <dgm:param type="spanAng" val="180"/>
                            </dgm:alg>
                          </dgm:else>
                        </dgm:choose>
                      </dgm:if>
                      <dgm:if name="Name161" axis="ch" ptType="node" func="cnt" op="equ" val="4">
                        <dgm:choose name="Name162">
                          <dgm:if name="Name163" axis="ch ch" ptType="node node" st="2 1" cnt="1 0" func="cnt" op="equ" val="1">
                            <dgm:alg type="cycle">
                              <dgm:param type="ctrShpMap" val="fNode"/>
                              <dgm:param type="stAng" val="90"/>
                            </dgm:alg>
                          </dgm:if>
                          <dgm:if name="Name164" axis="ch ch" ptType="node node" st="2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90"/>
                            </dgm:alg>
                          </dgm:if>
                          <dgm:else name="Name165">
                            <dgm:alg type="cycle">
                              <dgm:param type="ctrShpMap" val="fNode"/>
                              <dgm:param type="stAng" val="22.5"/>
                              <dgm:param type="spanAng" val="135"/>
                            </dgm:alg>
                          </dgm:else>
                        </dgm:choose>
                      </dgm:if>
                      <dgm:if name="Name166" axis="ch" ptType="node" func="cnt" op="equ" val="5">
                        <dgm:choose name="Name167">
                          <dgm:if name="Name168" axis="ch ch" ptType="node node" st="2 1" cnt="1 0" func="cnt" op="equ" val="1">
                            <dgm:alg type="cycle">
                              <dgm:param type="ctrShpMap" val="fNode"/>
                              <dgm:param type="stAng" val="72"/>
                            </dgm:alg>
                          </dgm:if>
                          <dgm:if name="Name169" axis="ch ch" ptType="node node" st="2 1" cnt="1 0" func="cnt" op="equ" val="2">
                            <dgm:alg type="cycle">
                              <dgm:param type="ctrShpMap" val="fNode"/>
                              <dgm:param type="stAng" val="27"/>
                              <dgm:param type="spanAng" val="90"/>
                            </dgm:alg>
                          </dgm:if>
                          <dgm:else name="Name170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171" axis="ch" ptType="node" func="cnt" op="equ" val="6">
                        <dgm:choose name="Name172">
                          <dgm:if name="Name173" axis="ch ch" ptType="node node" st="2 1" cnt="1 0" func="cnt" op="equ" val="1">
                            <dgm:alg type="cycle">
                              <dgm:param type="ctrShpMap" val="fNode"/>
                              <dgm:param type="stAng" val="60"/>
                            </dgm:alg>
                          </dgm:if>
                          <dgm:if name="Name174" axis="ch ch" ptType="node node" st="2 1" cnt="1 0" func="cnt" op="equ" val="2">
                            <dgm:alg type="cycle">
                              <dgm:param type="ctrShpMap" val="fNode"/>
                              <dgm:param type="stAng" val="15"/>
                              <dgm:param type="spanAng" val="90"/>
                            </dgm:alg>
                          </dgm:if>
                          <dgm:else name="Name175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176" axis="ch" ptType="node" func="cnt" op="gte" val="7">
                        <dgm:choose name="Name177">
                          <dgm:if name="Name178" axis="ch ch" ptType="node node" st="2 1" cnt="1 0" func="cnt" op="equ" val="1">
                            <dgm:alg type="cycle">
                              <dgm:param type="ctrShpMap" val="fNode"/>
                              <dgm:param type="stAng" val="51"/>
                            </dgm:alg>
                          </dgm:if>
                          <dgm:if name="Name179" axis="ch ch" ptType="node node" st="2 1" cnt="1 0" func="cnt" op="equ" val="2">
                            <dgm:alg type="cycle">
                              <dgm:param type="ctrShpMap" val="fNode"/>
                              <dgm:param type="stAng" val="6"/>
                              <dgm:param type="spanAng" val="90"/>
                            </dgm:alg>
                          </dgm:if>
                          <dgm:else name="Name180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181"/>
                    </dgm:choose>
                  </dgm:if>
                  <dgm:else name="Name182">
                    <dgm:choose name="Name183">
                      <dgm:if name="Name184" axis="ch" ptType="node" func="cnt" op="equ" val="2">
                        <dgm:choose name="Name185">
                          <dgm:if name="Name186" axis="ch ch" ptType="node node" st="2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187" axis="ch ch" ptType="node node" st="2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-90"/>
                            </dgm:alg>
                          </dgm:if>
                          <dgm:else name="Name188">
                            <dgm:alg type="cycle">
                              <dgm:param type="ctrShpMap" val="fNode"/>
                              <dgm:param type="stAng" val="270"/>
                              <dgm:param type="spanAng" val="-180"/>
                            </dgm:alg>
                          </dgm:else>
                        </dgm:choose>
                      </dgm:if>
                      <dgm:if name="Name189" axis="ch" ptType="node" func="cnt" op="equ" val="3">
                        <dgm:choose name="Name190">
                          <dgm:if name="Name191" axis="ch ch" ptType="node node" st="2 1" cnt="1 0" func="cnt" op="equ" val="1">
                            <dgm:alg type="cycle">
                              <dgm:param type="ctrShpMap" val="fNode"/>
                              <dgm:param type="stAng" val="240"/>
                              <dgm:param type="horzAlign" val="l"/>
                              <dgm:param type="vertAlign" val="b"/>
                            </dgm:alg>
                          </dgm:if>
                          <dgm:if name="Name192" axis="ch ch" ptType="node node" st="2 1" cnt="1 0" func="cnt" op="equ" val="2">
                            <dgm:alg type="cycle">
                              <dgm:param type="ctrShpMap" val="fNode"/>
                              <dgm:param type="stAng" val="285"/>
                              <dgm:param type="spanAng" val="-90"/>
                              <dgm:param type="horzAlign" val="l"/>
                              <dgm:param type="vertAlign" val="b"/>
                            </dgm:alg>
                          </dgm:if>
                          <dgm:else name="Name193">
                            <dgm:alg type="cycle">
                              <dgm:param type="ctrShpMap" val="fNode"/>
                              <dgm:param type="stAng" val="330"/>
                              <dgm:param type="spanAng" val="-180"/>
                            </dgm:alg>
                          </dgm:else>
                        </dgm:choose>
                      </dgm:if>
                      <dgm:if name="Name194" axis="ch" ptType="node" func="cnt" op="equ" val="4">
                        <dgm:choose name="Name195">
                          <dgm:if name="Name196" axis="ch ch" ptType="node node" st="2 1" cnt="1 0" func="cnt" op="equ" val="1">
                            <dgm:alg type="cycle">
                              <dgm:param type="ctrShpMap" val="fNode"/>
                              <dgm:param type="stAng" val="270"/>
                            </dgm:alg>
                          </dgm:if>
                          <dgm:if name="Name197" axis="ch ch" ptType="node node" st="2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-90"/>
                            </dgm:alg>
                          </dgm:if>
                          <dgm:else name="Name198">
                            <dgm:alg type="cycle">
                              <dgm:param type="ctrShpMap" val="fNode"/>
                              <dgm:param type="stAng" val="337.5"/>
                              <dgm:param type="spanAng" val="-135"/>
                            </dgm:alg>
                          </dgm:else>
                        </dgm:choose>
                      </dgm:if>
                      <dgm:if name="Name199" axis="ch" ptType="node" func="cnt" op="equ" val="5">
                        <dgm:choose name="Name200">
                          <dgm:if name="Name201" axis="ch ch" ptType="node node" st="2 1" cnt="1 0" func="cnt" op="equ" val="1">
                            <dgm:alg type="cycle">
                              <dgm:param type="ctrShpMap" val="fNode"/>
                              <dgm:param type="stAng" val="288"/>
                            </dgm:alg>
                          </dgm:if>
                          <dgm:if name="Name202" axis="ch ch" ptType="node node" st="2 1" cnt="1 0" func="cnt" op="equ" val="2">
                            <dgm:alg type="cycle">
                              <dgm:param type="ctrShpMap" val="fNode"/>
                              <dgm:param type="stAng" val="333"/>
                              <dgm:param type="spanAng" val="-90"/>
                            </dgm:alg>
                          </dgm:if>
                          <dgm:else name="Name203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04" axis="ch" ptType="node" func="cnt" op="equ" val="6">
                        <dgm:choose name="Name205">
                          <dgm:if name="Name206" axis="ch ch" ptType="node node" st="2 1" cnt="1 0" func="cnt" op="equ" val="1">
                            <dgm:alg type="cycle">
                              <dgm:param type="ctrShpMap" val="fNode"/>
                              <dgm:param type="stAng" val="300"/>
                            </dgm:alg>
                          </dgm:if>
                          <dgm:if name="Name207" axis="ch ch" ptType="node node" st="2 1" cnt="1 0" func="cnt" op="equ" val="2">
                            <dgm:alg type="cycle">
                              <dgm:param type="ctrShpMap" val="fNode"/>
                              <dgm:param type="stAng" val="345"/>
                              <dgm:param type="spanAng" val="-90"/>
                            </dgm:alg>
                          </dgm:if>
                          <dgm:else name="Name208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09" axis="ch" ptType="node" func="cnt" op="gte" val="7">
                        <dgm:choose name="Name210">
                          <dgm:if name="Name211" axis="ch ch" ptType="node node" st="2 1" cnt="1 0" func="cnt" op="equ" val="1">
                            <dgm:alg type="cycle">
                              <dgm:param type="ctrShpMap" val="fNode"/>
                              <dgm:param type="stAng" val="308"/>
                            </dgm:alg>
                          </dgm:if>
                          <dgm:if name="Name212" axis="ch ch" ptType="node node" st="2 1" cnt="1 0" func="cnt" op="equ" val="2">
                            <dgm:alg type="cycle">
                              <dgm:param type="ctrShpMap" val="fNode"/>
                              <dgm:param type="stAng" val="353"/>
                              <dgm:param type="spanAng" val="-90"/>
                            </dgm:alg>
                          </dgm:if>
                          <dgm:else name="Name213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214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215" axis="ch" ptType="node" st="2" cnt="1">
                  <dgm:layoutNode name="childCenter2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216" axis="ch">
                    <dgm:forEach name="Name217" axis="self" ptType="parTrans">
                      <dgm:layoutNode name="Name218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219" axis="self" ptType="node">
                      <dgm:layoutNode name="text2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220" axis="ch" ptType="parTrans" st="2" cnt="1">
                <dgm:layoutNode name="Name221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222"/>
          </dgm:choose>
          <dgm:choose name="Name223">
            <dgm:if name="Name224" axis="ch" ptType="node" func="cnt" op="gte" val="3">
              <dgm:layoutNode name="cycle_3">
                <dgm:choose name="Name225">
                  <dgm:if name="Name226" func="var" arg="dir" op="equ" val="norm">
                    <dgm:choose name="Name227">
                      <dgm:if name="Name228" axis="ch" ptType="node" func="cnt" op="equ" val="3">
                        <dgm:choose name="Name229">
                          <dgm:if name="Name230" axis="ch ch" ptType="node node" st="3 1" cnt="1 0" func="cnt" op="equ" val="1">
                            <dgm:alg type="cycle">
                              <dgm:param type="ctrShpMap" val="fNode"/>
                              <dgm:param type="stAng" val="240"/>
                              <dgm:param type="horzAlign" val="l"/>
                              <dgm:param type="vertAlign" val="b"/>
                            </dgm:alg>
                          </dgm:if>
                          <dgm:if name="Name231" axis="ch ch" ptType="node node" st="3 1" cnt="1 0" func="cnt" op="equ" val="2">
                            <dgm:alg type="cycle">
                              <dgm:param type="ctrShpMap" val="fNode"/>
                              <dgm:param type="stAng" val="195"/>
                              <dgm:param type="spanAng" val="90"/>
                              <dgm:param type="horzAlign" val="l"/>
                              <dgm:param type="vertAlign" val="b"/>
                            </dgm:alg>
                          </dgm:if>
                          <dgm:else name="Name232">
                            <dgm:alg type="cycle">
                              <dgm:param type="ctrShpMap" val="fNode"/>
                              <dgm:param type="stAng" val="150"/>
                              <dgm:param type="spanAng" val="180"/>
                            </dgm:alg>
                          </dgm:else>
                        </dgm:choose>
                      </dgm:if>
                      <dgm:if name="Name233" axis="ch" ptType="node" func="cnt" op="equ" val="4">
                        <dgm:choose name="Name234">
                          <dgm:if name="Name235" axis="ch ch" ptType="node node" st="3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236" axis="ch ch" ptType="node node" st="3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90"/>
                            </dgm:alg>
                          </dgm:if>
                          <dgm:else name="Name237">
                            <dgm:alg type="cycle">
                              <dgm:param type="ctrShpMap" val="fNode"/>
                              <dgm:param type="stAng" val="112.5"/>
                              <dgm:param type="spanAng" val="135"/>
                            </dgm:alg>
                          </dgm:else>
                        </dgm:choose>
                      </dgm:if>
                      <dgm:if name="Name238" axis="ch" ptType="node" func="cnt" op="equ" val="5">
                        <dgm:choose name="Name239">
                          <dgm:if name="Name240" axis="ch ch" ptType="node node" st="3 1" cnt="1 0" func="cnt" op="equ" val="1">
                            <dgm:alg type="cycle">
                              <dgm:param type="ctrShpMap" val="fNode"/>
                              <dgm:param type="stAng" val="144"/>
                            </dgm:alg>
                          </dgm:if>
                          <dgm:if name="Name241" axis="ch ch" ptType="node node" st="3 1" cnt="1 0" func="cnt" op="equ" val="2">
                            <dgm:alg type="cycle">
                              <dgm:param type="ctrShpMap" val="fNode"/>
                              <dgm:param type="stAng" val="99"/>
                              <dgm:param type="spanAng" val="90"/>
                            </dgm:alg>
                          </dgm:if>
                          <dgm:else name="Name242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243" axis="ch" ptType="node" func="cnt" op="equ" val="6">
                        <dgm:choose name="Name244">
                          <dgm:if name="Name245" axis="ch ch" ptType="node node" st="3 1" cnt="1 0" func="cnt" op="equ" val="1">
                            <dgm:alg type="cycle">
                              <dgm:param type="ctrShpMap" val="fNode"/>
                              <dgm:param type="stAng" val="120"/>
                            </dgm:alg>
                          </dgm:if>
                          <dgm:if name="Name246" axis="ch ch" ptType="node node" st="3 1" cnt="1 0" func="cnt" op="equ" val="2">
                            <dgm:alg type="cycle">
                              <dgm:param type="ctrShpMap" val="fNode"/>
                              <dgm:param type="stAng" val="75"/>
                              <dgm:param type="spanAng" val="90"/>
                            </dgm:alg>
                          </dgm:if>
                          <dgm:else name="Name247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248" axis="ch" ptType="node" func="cnt" op="gte" val="7">
                        <dgm:choose name="Name249">
                          <dgm:if name="Name250" axis="ch ch" ptType="node node" st="3 1" cnt="1 0" func="cnt" op="equ" val="1">
                            <dgm:alg type="cycle">
                              <dgm:param type="ctrShpMap" val="fNode"/>
                              <dgm:param type="stAng" val="102"/>
                            </dgm:alg>
                          </dgm:if>
                          <dgm:if name="Name251" axis="ch ch" ptType="node node" st="3 1" cnt="1 0" func="cnt" op="equ" val="2">
                            <dgm:alg type="cycle">
                              <dgm:param type="ctrShpMap" val="fNode"/>
                              <dgm:param type="stAng" val="57"/>
                              <dgm:param type="spanAng" val="90"/>
                            </dgm:alg>
                          </dgm:if>
                          <dgm:else name="Name252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253"/>
                    </dgm:choose>
                  </dgm:if>
                  <dgm:else name="Name254">
                    <dgm:choose name="Name255">
                      <dgm:if name="Name256" axis="ch" ptType="node" func="cnt" op="equ" val="3">
                        <dgm:choose name="Name257">
                          <dgm:if name="Name258" axis="ch ch" ptType="node node" st="3 1" cnt="1 0" func="cnt" op="equ" val="1">
                            <dgm:alg type="cycle">
                              <dgm:param type="ctrShpMap" val="fNode"/>
                              <dgm:param type="stAng" val="120"/>
                              <dgm:param type="horzAlign" val="r"/>
                              <dgm:param type="vertAlign" val="b"/>
                            </dgm:alg>
                          </dgm:if>
                          <dgm:if name="Name259" axis="ch ch" ptType="node node" st="3 1" cnt="1 0" func="cnt" op="equ" val="2">
                            <dgm:alg type="cycle">
                              <dgm:param type="ctrShpMap" val="fNode"/>
                              <dgm:param type="stAng" val="165"/>
                              <dgm:param type="spanAng" val="-90"/>
                              <dgm:param type="horzAlign" val="r"/>
                              <dgm:param type="vertAlign" val="b"/>
                            </dgm:alg>
                          </dgm:if>
                          <dgm:else name="Name260">
                            <dgm:alg type="cycle">
                              <dgm:param type="ctrShpMap" val="fNode"/>
                              <dgm:param type="stAng" val="210"/>
                              <dgm:param type="spanAng" val="-180"/>
                            </dgm:alg>
                          </dgm:else>
                        </dgm:choose>
                      </dgm:if>
                      <dgm:if name="Name261" axis="ch" ptType="node" func="cnt" op="equ" val="4">
                        <dgm:choose name="Name262">
                          <dgm:if name="Name263" axis="ch ch" ptType="node node" st="3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264" axis="ch ch" ptType="node node" st="3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-90"/>
                            </dgm:alg>
                          </dgm:if>
                          <dgm:else name="Name265">
                            <dgm:alg type="cycle">
                              <dgm:param type="ctrShpMap" val="fNode"/>
                              <dgm:param type="stAng" val="247.5"/>
                              <dgm:param type="spanAng" val="-135"/>
                            </dgm:alg>
                          </dgm:else>
                        </dgm:choose>
                      </dgm:if>
                      <dgm:if name="Name266" axis="ch" ptType="node" func="cnt" op="equ" val="5">
                        <dgm:choose name="Name267">
                          <dgm:if name="Name268" axis="ch ch" ptType="node node" st="3 1" cnt="1 0" func="cnt" op="equ" val="1">
                            <dgm:alg type="cycle">
                              <dgm:param type="ctrShpMap" val="fNode"/>
                              <dgm:param type="stAng" val="216"/>
                            </dgm:alg>
                          </dgm:if>
                          <dgm:if name="Name269" axis="ch ch" ptType="node node" st="3 1" cnt="1 0" func="cnt" op="equ" val="2">
                            <dgm:alg type="cycle">
                              <dgm:param type="ctrShpMap" val="fNode"/>
                              <dgm:param type="stAng" val="261"/>
                              <dgm:param type="spanAng" val="-90"/>
                            </dgm:alg>
                          </dgm:if>
                          <dgm:else name="Name270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71" axis="ch" ptType="node" func="cnt" op="equ" val="6">
                        <dgm:choose name="Name272">
                          <dgm:if name="Name273" axis="ch ch" ptType="node node" st="3 1" cnt="1 0" func="cnt" op="equ" val="1">
                            <dgm:alg type="cycle">
                              <dgm:param type="ctrShpMap" val="fNode"/>
                              <dgm:param type="stAng" val="240"/>
                            </dgm:alg>
                          </dgm:if>
                          <dgm:if name="Name274" axis="ch ch" ptType="node node" st="3 1" cnt="1 0" func="cnt" op="equ" val="2">
                            <dgm:alg type="cycle">
                              <dgm:param type="ctrShpMap" val="fNode"/>
                              <dgm:param type="stAng" val="285"/>
                              <dgm:param type="spanAng" val="-90"/>
                            </dgm:alg>
                          </dgm:if>
                          <dgm:else name="Name275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76" axis="ch" ptType="node" func="cnt" op="gte" val="7">
                        <dgm:choose name="Name277">
                          <dgm:if name="Name278" axis="ch ch" ptType="node node" st="3 1" cnt="1 0" func="cnt" op="equ" val="1">
                            <dgm:alg type="cycle">
                              <dgm:param type="ctrShpMap" val="fNode"/>
                              <dgm:param type="stAng" val="257"/>
                            </dgm:alg>
                          </dgm:if>
                          <dgm:if name="Name279" axis="ch ch" ptType="node node" st="3 1" cnt="1 0" func="cnt" op="equ" val="2">
                            <dgm:alg type="cycle">
                              <dgm:param type="ctrShpMap" val="fNode"/>
                              <dgm:param type="stAng" val="302"/>
                              <dgm:param type="spanAng" val="-90"/>
                            </dgm:alg>
                          </dgm:if>
                          <dgm:else name="Name280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281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282" axis="ch" ptType="node" st="3" cnt="1">
                  <dgm:layoutNode name="childCenter3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283" axis="ch">
                    <dgm:forEach name="Name284" axis="self" ptType="parTrans">
                      <dgm:layoutNode name="Name285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286" axis="self" ptType="node">
                      <dgm:layoutNode name="text3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287" axis="ch" ptType="parTrans" st="3" cnt="1">
                <dgm:layoutNode name="Name288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3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289"/>
          </dgm:choose>
          <dgm:choose name="Name290">
            <dgm:if name="Name291" axis="ch" ptType="node" func="cnt" op="gte" val="4">
              <dgm:layoutNode name="cycle_4">
                <dgm:choose name="Name292">
                  <dgm:if name="Name293" func="var" arg="dir" op="equ" val="norm">
                    <dgm:choose name="Name294">
                      <dgm:if name="Name295" axis="ch" ptType="node" func="cnt" op="equ" val="4">
                        <dgm:choose name="Name296">
                          <dgm:if name="Name297" axis="ch ch" ptType="node node" st="4 1" cnt="1 0" func="cnt" op="equ" val="1">
                            <dgm:alg type="cycle">
                              <dgm:param type="ctrShpMap" val="fNode"/>
                              <dgm:param type="stAng" val="270"/>
                            </dgm:alg>
                          </dgm:if>
                          <dgm:if name="Name298" axis="ch ch" ptType="node node" st="4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90"/>
                            </dgm:alg>
                          </dgm:if>
                          <dgm:else name="Name299">
                            <dgm:alg type="cycle">
                              <dgm:param type="ctrShpMap" val="fNode"/>
                              <dgm:param type="stAng" val="202.5"/>
                              <dgm:param type="spanAng" val="135"/>
                            </dgm:alg>
                          </dgm:else>
                        </dgm:choose>
                      </dgm:if>
                      <dgm:if name="Name300" axis="ch" ptType="node" func="cnt" op="equ" val="5">
                        <dgm:choose name="Name301">
                          <dgm:if name="Name302" axis="ch ch" ptType="node node" st="4 1" cnt="1 0" func="cnt" op="equ" val="1">
                            <dgm:alg type="cycle">
                              <dgm:param type="ctrShpMap" val="fNode"/>
                              <dgm:param type="stAng" val="216"/>
                            </dgm:alg>
                          </dgm:if>
                          <dgm:if name="Name303" axis="ch ch" ptType="node node" st="4 1" cnt="1 0" func="cnt" op="equ" val="2">
                            <dgm:alg type="cycle">
                              <dgm:param type="ctrShpMap" val="fNode"/>
                              <dgm:param type="stAng" val="171"/>
                              <dgm:param type="spanAng" val="90"/>
                            </dgm:alg>
                          </dgm:if>
                          <dgm:else name="Name304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05" axis="ch" ptType="node" func="cnt" op="equ" val="6">
                        <dgm:choose name="Name306">
                          <dgm:if name="Name307" axis="ch ch" ptType="node node" st="4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308" axis="ch ch" ptType="node node" st="4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90"/>
                            </dgm:alg>
                          </dgm:if>
                          <dgm:else name="Name309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10" axis="ch" ptType="node" func="cnt" op="gte" val="7">
                        <dgm:choose name="Name311">
                          <dgm:if name="Name312" axis="ch ch" ptType="node node" st="4 1" cnt="1 0" func="cnt" op="equ" val="1">
                            <dgm:alg type="cycle">
                              <dgm:param type="ctrShpMap" val="fNode"/>
                              <dgm:param type="stAng" val="154"/>
                            </dgm:alg>
                          </dgm:if>
                          <dgm:if name="Name313" axis="ch ch" ptType="node node" st="4 1" cnt="1 0" func="cnt" op="equ" val="2">
                            <dgm:alg type="cycle">
                              <dgm:param type="ctrShpMap" val="fNode"/>
                              <dgm:param type="stAng" val="109"/>
                              <dgm:param type="spanAng" val="90"/>
                            </dgm:alg>
                          </dgm:if>
                          <dgm:else name="Name314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315"/>
                    </dgm:choose>
                  </dgm:if>
                  <dgm:else name="Name316">
                    <dgm:choose name="Name317">
                      <dgm:if name="Name318" axis="ch" ptType="node" func="cnt" op="equ" val="4">
                        <dgm:choose name="Name319">
                          <dgm:if name="Name320" axis="ch ch" ptType="node node" st="4 1" cnt="1 0" func="cnt" op="equ" val="1">
                            <dgm:alg type="cycle">
                              <dgm:param type="ctrShpMap" val="fNode"/>
                              <dgm:param type="stAng" val="90"/>
                            </dgm:alg>
                          </dgm:if>
                          <dgm:if name="Name321" axis="ch ch" ptType="node node" st="4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-90"/>
                            </dgm:alg>
                          </dgm:if>
                          <dgm:else name="Name322">
                            <dgm:alg type="cycle">
                              <dgm:param type="ctrShpMap" val="fNode"/>
                              <dgm:param type="stAng" val="157.5"/>
                              <dgm:param type="spanAng" val="-135"/>
                            </dgm:alg>
                          </dgm:else>
                        </dgm:choose>
                      </dgm:if>
                      <dgm:if name="Name323" axis="ch" ptType="node" func="cnt" op="equ" val="5">
                        <dgm:choose name="Name324">
                          <dgm:if name="Name325" axis="ch ch" ptType="node node" st="4 1" cnt="1 0" func="cnt" op="equ" val="1">
                            <dgm:alg type="cycle">
                              <dgm:param type="ctrShpMap" val="fNode"/>
                              <dgm:param type="stAng" val="144"/>
                            </dgm:alg>
                          </dgm:if>
                          <dgm:if name="Name326" axis="ch ch" ptType="node node" st="4 1" cnt="1 0" func="cnt" op="equ" val="2">
                            <dgm:alg type="cycle">
                              <dgm:param type="ctrShpMap" val="fNode"/>
                              <dgm:param type="stAng" val="189"/>
                              <dgm:param type="spanAng" val="-90"/>
                            </dgm:alg>
                          </dgm:if>
                          <dgm:else name="Name327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28" axis="ch" ptType="node" func="cnt" op="equ" val="6">
                        <dgm:choose name="Name329">
                          <dgm:if name="Name330" axis="ch ch" ptType="node node" st="4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331" axis="ch ch" ptType="node node" st="4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-90"/>
                            </dgm:alg>
                          </dgm:if>
                          <dgm:else name="Name332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33" axis="ch" ptType="node" func="cnt" op="gte" val="7">
                        <dgm:choose name="Name334">
                          <dgm:if name="Name335" axis="ch ch" ptType="node node" st="4 1" cnt="1 0" func="cnt" op="equ" val="1">
                            <dgm:alg type="cycle">
                              <dgm:param type="ctrShpMap" val="fNode"/>
                              <dgm:param type="stAng" val="205"/>
                            </dgm:alg>
                          </dgm:if>
                          <dgm:if name="Name336" axis="ch ch" ptType="node node" st="4 1" cnt="1 0" func="cnt" op="equ" val="2">
                            <dgm:alg type="cycle">
                              <dgm:param type="ctrShpMap" val="fNode"/>
                              <dgm:param type="stAng" val="250"/>
                              <dgm:param type="spanAng" val="-90"/>
                            </dgm:alg>
                          </dgm:if>
                          <dgm:else name="Name337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338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339" axis="ch" ptType="node" st="4" cnt="1">
                  <dgm:layoutNode name="childCenter4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340" axis="ch">
                    <dgm:forEach name="Name341" axis="self" ptType="parTrans">
                      <dgm:layoutNode name="Name342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343" axis="self" ptType="node">
                      <dgm:layoutNode name="text4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344" axis="ch" ptType="parTrans" st="4" cnt="1">
                <dgm:layoutNode name="Name345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4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346"/>
          </dgm:choose>
          <dgm:choose name="Name347">
            <dgm:if name="Name348" axis="ch" ptType="node" func="cnt" op="gte" val="5">
              <dgm:layoutNode name="cycle_5">
                <dgm:choose name="Name349">
                  <dgm:if name="Name350" func="var" arg="dir" op="equ" val="norm">
                    <dgm:choose name="Name351">
                      <dgm:if name="Name352" axis="ch" ptType="node" func="cnt" op="equ" val="5">
                        <dgm:choose name="Name353">
                          <dgm:if name="Name354" axis="ch ch" ptType="node node" st="5 1" cnt="1 0" func="cnt" op="equ" val="1">
                            <dgm:alg type="cycle">
                              <dgm:param type="ctrShpMap" val="fNode"/>
                              <dgm:param type="stAng" val="288"/>
                            </dgm:alg>
                          </dgm:if>
                          <dgm:if name="Name355" axis="ch ch" ptType="node node" st="5 1" cnt="1 0" func="cnt" op="equ" val="2">
                            <dgm:alg type="cycle">
                              <dgm:param type="ctrShpMap" val="fNode"/>
                              <dgm:param type="stAng" val="243"/>
                              <dgm:param type="spanAng" val="90"/>
                            </dgm:alg>
                          </dgm:if>
                          <dgm:else name="Name356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57" axis="ch" ptType="node" func="cnt" op="equ" val="6">
                        <dgm:choose name="Name358">
                          <dgm:if name="Name359" axis="ch ch" ptType="node node" st="5 1" cnt="1 0" func="cnt" op="equ" val="1">
                            <dgm:alg type="cycle">
                              <dgm:param type="ctrShpMap" val="fNode"/>
                              <dgm:param type="stAng" val="240"/>
                            </dgm:alg>
                          </dgm:if>
                          <dgm:if name="Name360" axis="ch ch" ptType="node node" st="5 1" cnt="1 0" func="cnt" op="equ" val="2">
                            <dgm:alg type="cycle">
                              <dgm:param type="ctrShpMap" val="fNode"/>
                              <dgm:param type="stAng" val="195"/>
                              <dgm:param type="spanAng" val="90"/>
                            </dgm:alg>
                          </dgm:if>
                          <dgm:else name="Name361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62" axis="ch" ptType="node" func="cnt" op="gte" val="7">
                        <dgm:choose name="Name363">
                          <dgm:if name="Name364" axis="ch ch" ptType="node node" st="5 1" cnt="1 0" func="cnt" op="equ" val="1">
                            <dgm:alg type="cycle">
                              <dgm:param type="ctrShpMap" val="fNode"/>
                              <dgm:param type="stAng" val="205"/>
                            </dgm:alg>
                          </dgm:if>
                          <dgm:if name="Name365" axis="ch ch" ptType="node node" st="5 1" cnt="1 0" func="cnt" op="equ" val="2">
                            <dgm:alg type="cycle">
                              <dgm:param type="ctrShpMap" val="fNode"/>
                              <dgm:param type="stAng" val="160"/>
                              <dgm:param type="spanAng" val="90"/>
                            </dgm:alg>
                          </dgm:if>
                          <dgm:else name="Name366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367"/>
                    </dgm:choose>
                  </dgm:if>
                  <dgm:else name="Name368">
                    <dgm:choose name="Name369">
                      <dgm:if name="Name370" axis="ch" ptType="node" func="cnt" op="equ" val="5">
                        <dgm:choose name="Name371">
                          <dgm:if name="Name372" axis="ch ch" ptType="node node" st="5 1" cnt="1 0" func="cnt" op="equ" val="1">
                            <dgm:alg type="cycle">
                              <dgm:param type="ctrShpMap" val="fNode"/>
                              <dgm:param type="stAng" val="72"/>
                            </dgm:alg>
                          </dgm:if>
                          <dgm:if name="Name373" axis="ch ch" ptType="node node" st="5 1" cnt="1 0" func="cnt" op="equ" val="2">
                            <dgm:alg type="cycle">
                              <dgm:param type="ctrShpMap" val="fNode"/>
                              <dgm:param type="stAng" val="117"/>
                              <dgm:param type="spanAng" val="-90"/>
                            </dgm:alg>
                          </dgm:if>
                          <dgm:else name="Name374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75" axis="ch" ptType="node" func="cnt" op="equ" val="6">
                        <dgm:choose name="Name376">
                          <dgm:if name="Name377" axis="ch ch" ptType="node node" st="5 1" cnt="1 0" func="cnt" op="equ" val="1">
                            <dgm:alg type="cycle">
                              <dgm:param type="ctrShpMap" val="fNode"/>
                              <dgm:param type="stAng" val="120"/>
                            </dgm:alg>
                          </dgm:if>
                          <dgm:if name="Name378" axis="ch ch" ptType="node node" st="5 1" cnt="1 0" func="cnt" op="equ" val="2">
                            <dgm:alg type="cycle">
                              <dgm:param type="ctrShpMap" val="fNode"/>
                              <dgm:param type="stAng" val="165"/>
                              <dgm:param type="spanAng" val="-90"/>
                            </dgm:alg>
                          </dgm:if>
                          <dgm:else name="Name379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80" axis="ch" ptType="node" func="cnt" op="gte" val="7">
                        <dgm:choose name="Name381">
                          <dgm:if name="Name382" axis="ch ch" ptType="node node" st="5 1" cnt="1 0" func="cnt" op="equ" val="1">
                            <dgm:alg type="cycle">
                              <dgm:param type="ctrShpMap" val="fNode"/>
                              <dgm:param type="stAng" val="154"/>
                            </dgm:alg>
                          </dgm:if>
                          <dgm:if name="Name383" axis="ch ch" ptType="node node" st="5 1" cnt="1 0" func="cnt" op="equ" val="2">
                            <dgm:alg type="cycle">
                              <dgm:param type="ctrShpMap" val="fNode"/>
                              <dgm:param type="stAng" val="199"/>
                              <dgm:param type="spanAng" val="-90"/>
                            </dgm:alg>
                          </dgm:if>
                          <dgm:else name="Name384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385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386" axis="ch" ptType="node" st="5" cnt="1">
                  <dgm:layoutNode name="childCenter5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387" axis="ch">
                    <dgm:forEach name="Name388" axis="self" ptType="parTrans">
                      <dgm:layoutNode name="Name389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390" axis="self" ptType="node">
                      <dgm:layoutNode name="text5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391" axis="ch" ptType="parTrans" st="5" cnt="1">
                <dgm:layoutNode name="Name392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5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393"/>
          </dgm:choose>
          <dgm:choose name="Name394">
            <dgm:if name="Name395" axis="ch" ptType="node" func="cnt" op="gte" val="6">
              <dgm:layoutNode name="cycle_6">
                <dgm:choose name="Name396">
                  <dgm:if name="Name397" func="var" arg="dir" op="equ" val="norm">
                    <dgm:choose name="Name398">
                      <dgm:if name="Name399" axis="ch" ptType="node" func="cnt" op="equ" val="6">
                        <dgm:choose name="Name400">
                          <dgm:if name="Name401" axis="ch ch" ptType="node node" st="6 1" cnt="1 0" func="cnt" op="equ" val="1">
                            <dgm:alg type="cycle">
                              <dgm:param type="ctrShpMap" val="fNode"/>
                              <dgm:param type="stAng" val="300"/>
                            </dgm:alg>
                          </dgm:if>
                          <dgm:if name="Name402" axis="ch ch" ptType="node node" st="6 1" cnt="1 0" func="cnt" op="equ" val="2">
                            <dgm:alg type="cycle">
                              <dgm:param type="ctrShpMap" val="fNode"/>
                              <dgm:param type="stAng" val="255"/>
                              <dgm:param type="spanAng" val="90"/>
                            </dgm:alg>
                          </dgm:if>
                          <dgm:else name="Name403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404" axis="ch" ptType="node" func="cnt" op="gte" val="7">
                        <dgm:choose name="Name405">
                          <dgm:if name="Name406" axis="ch ch" ptType="node node" st="6 1" cnt="1 0" func="cnt" op="equ" val="1">
                            <dgm:alg type="cycle">
                              <dgm:param type="ctrShpMap" val="fNode"/>
                              <dgm:param type="stAng" val="257"/>
                            </dgm:alg>
                          </dgm:if>
                          <dgm:if name="Name407" axis="ch ch" ptType="node node" st="6 1" cnt="1 0" func="cnt" op="equ" val="2">
                            <dgm:alg type="cycle">
                              <dgm:param type="ctrShpMap" val="fNode"/>
                              <dgm:param type="stAng" val="212"/>
                              <dgm:param type="spanAng" val="90"/>
                            </dgm:alg>
                          </dgm:if>
                          <dgm:else name="Name408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409"/>
                    </dgm:choose>
                  </dgm:if>
                  <dgm:else name="Name410">
                    <dgm:choose name="Name411">
                      <dgm:if name="Name412" axis="ch" ptType="node" func="cnt" op="equ" val="6">
                        <dgm:choose name="Name413">
                          <dgm:if name="Name414" axis="ch ch" ptType="node node" st="6 1" cnt="1 0" func="cnt" op="equ" val="1">
                            <dgm:alg type="cycle">
                              <dgm:param type="ctrShpMap" val="fNode"/>
                              <dgm:param type="stAng" val="60"/>
                            </dgm:alg>
                          </dgm:if>
                          <dgm:if name="Name415" axis="ch ch" ptType="node node" st="6 1" cnt="1 0" func="cnt" op="equ" val="2">
                            <dgm:alg type="cycle">
                              <dgm:param type="ctrShpMap" val="fNode"/>
                              <dgm:param type="stAng" val="105"/>
                              <dgm:param type="spanAng" val="-90"/>
                            </dgm:alg>
                          </dgm:if>
                          <dgm:else name="Name416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417" axis="ch" ptType="node" func="cnt" op="gte" val="7">
                        <dgm:choose name="Name418">
                          <dgm:if name="Name419" axis="ch ch" ptType="node node" st="6 1" cnt="1 0" func="cnt" op="equ" val="1">
                            <dgm:alg type="cycle">
                              <dgm:param type="ctrShpMap" val="fNode"/>
                              <dgm:param type="stAng" val="102"/>
                            </dgm:alg>
                          </dgm:if>
                          <dgm:if name="Name420" axis="ch ch" ptType="node node" st="6 1" cnt="1 0" func="cnt" op="equ" val="2">
                            <dgm:alg type="cycle">
                              <dgm:param type="ctrShpMap" val="fNode"/>
                              <dgm:param type="stAng" val="147"/>
                              <dgm:param type="spanAng" val="-90"/>
                            </dgm:alg>
                          </dgm:if>
                          <dgm:else name="Name421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422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423" axis="ch" ptType="node" st="6" cnt="1">
                  <dgm:layoutNode name="childCenter6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424" axis="ch">
                    <dgm:forEach name="Name425" axis="self" ptType="parTrans">
                      <dgm:layoutNode name="Name426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427" axis="self" ptType="node">
                      <dgm:layoutNode name="text6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428" axis="ch" ptType="parTrans" st="6" cnt="1">
                <dgm:layoutNode name="Name429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6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430"/>
          </dgm:choose>
          <dgm:choose name="Name431">
            <dgm:if name="Name432" axis="ch" ptType="node" func="cnt" op="gte" val="7">
              <dgm:layoutNode name="cycle_7">
                <dgm:choose name="Name433">
                  <dgm:if name="Name434" func="var" arg="dir" op="equ" val="norm">
                    <dgm:choose name="Name435">
                      <dgm:if name="Name436" axis="ch" ptType="node" func="cnt" op="gte" val="7">
                        <dgm:choose name="Name437">
                          <dgm:if name="Name438" axis="ch ch" ptType="node node" st="7 1" cnt="1 0" func="cnt" op="equ" val="1">
                            <dgm:alg type="cycle">
                              <dgm:param type="ctrShpMap" val="fNode"/>
                              <dgm:param type="stAng" val="308"/>
                            </dgm:alg>
                          </dgm:if>
                          <dgm:if name="Name439" axis="ch ch" ptType="node node" st="7 1" cnt="1 0" func="cnt" op="equ" val="2">
                            <dgm:alg type="cycle">
                              <dgm:param type="ctrShpMap" val="fNode"/>
                              <dgm:param type="stAng" val="263"/>
                              <dgm:param type="spanAng" val="90"/>
                            </dgm:alg>
                          </dgm:if>
                          <dgm:else name="Name440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441"/>
                    </dgm:choose>
                  </dgm:if>
                  <dgm:else name="Name442">
                    <dgm:choose name="Name443">
                      <dgm:if name="Name444" axis="ch" ptType="node" func="cnt" op="gte" val="7">
                        <dgm:choose name="Name445">
                          <dgm:if name="Name446" axis="ch ch" ptType="node node" st="7 1" cnt="1 0" func="cnt" op="equ" val="1">
                            <dgm:alg type="cycle">
                              <dgm:param type="ctrShpMap" val="fNode"/>
                              <dgm:param type="stAng" val="51"/>
                            </dgm:alg>
                          </dgm:if>
                          <dgm:if name="Name447" axis="ch ch" ptType="node node" st="7 1" cnt="1 0" func="cnt" op="equ" val="2">
                            <dgm:alg type="cycle">
                              <dgm:param type="ctrShpMap" val="fNode"/>
                              <dgm:param type="stAng" val="96"/>
                              <dgm:param type="spanAng" val="-90"/>
                            </dgm:alg>
                          </dgm:if>
                          <dgm:else name="Name448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449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450" axis="ch" ptType="node" st="7" cnt="1">
                  <dgm:layoutNode name="childCenter7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451" axis="ch">
                    <dgm:forEach name="Name452" axis="self" ptType="parTrans">
                      <dgm:layoutNode name="Name453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454" axis="self" ptType="node">
                      <dgm:layoutNode name="text7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455" axis="ch" ptType="parTrans" st="7" cnt="1">
                <dgm:layoutNode name="Name456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7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457"/>
          </dgm:choose>
        </dgm:else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5A5324-1691-432E-9B96-DD7ECF3FE52F}" type="datetimeFigureOut">
              <a:rPr lang="en-US" smtClean="0"/>
              <a:pPr/>
              <a:t>1/27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FCEDEF-2737-46F8-AF36-888F22E9CAC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79676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Image Placeholder 4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792288" y="428625"/>
            <a:ext cx="5048250" cy="37861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483" name="Notes Placeholder 5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3823017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8039432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056024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90942226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5029396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288555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29628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609601"/>
            <a:ext cx="7772400" cy="4267200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8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953000"/>
            <a:ext cx="6400800" cy="12192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A9F14-C511-417B-A9FD-D24FC59BDCAC}" type="datetime1">
              <a:rPr lang="en-US" smtClean="0"/>
              <a:pPr/>
              <a:t>1/27/2018</a:t>
            </a:fld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BBCBAB-C02B-4274-A7B8-550998EC6408}" type="datetime1">
              <a:rPr lang="en-US" smtClean="0"/>
              <a:pPr/>
              <a:t>1/27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4CA2D8-4097-488C-8F22-5B6BC7F8F25F}" type="datetime1">
              <a:rPr lang="en-US" smtClean="0"/>
              <a:pPr/>
              <a:t>1/27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FDF8C06-BECE-4604-993D-3EA24CE77146}" type="datetime1">
              <a:rPr lang="en-US" smtClean="0">
                <a:solidFill>
                  <a:prstClr val="black"/>
                </a:solidFill>
              </a:rPr>
              <a:pPr/>
              <a:t>1/27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7620034"/>
      </p:ext>
    </p:extLst>
  </p:cSld>
  <p:clrMapOvr>
    <a:masterClrMapping/>
  </p:clrMapOvr>
  <p:hf sldNum="0"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5F21D25-0A0E-4CEF-B8EC-06AAD4D88D67}" type="datetime1">
              <a:rPr lang="en-US" smtClean="0">
                <a:solidFill>
                  <a:prstClr val="black"/>
                </a:solidFill>
              </a:rPr>
              <a:pPr/>
              <a:t>1/27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15034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CCFFB93-16C9-4092-B2E8-8524430274D9}" type="datetime1">
              <a:rPr lang="en-US" smtClean="0">
                <a:solidFill>
                  <a:prstClr val="black"/>
                </a:solidFill>
              </a:rPr>
              <a:pPr/>
              <a:t>1/27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46540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1D1537B-F5F1-4193-B349-40CCA73A30F7}" type="datetime1">
              <a:rPr lang="en-US" smtClean="0">
                <a:solidFill>
                  <a:prstClr val="black"/>
                </a:solidFill>
              </a:rPr>
              <a:pPr/>
              <a:t>1/27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309427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096D8EE-0A5C-4A16-B50B-139E7C35F60D}" type="datetime1">
              <a:rPr lang="en-US" smtClean="0">
                <a:solidFill>
                  <a:prstClr val="black"/>
                </a:solidFill>
              </a:rPr>
              <a:pPr/>
              <a:t>1/27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50440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3FD0A75-0C51-4FAB-9A77-D3D5A22B9FD2}" type="datetime1">
              <a:rPr lang="en-US" smtClean="0">
                <a:solidFill>
                  <a:prstClr val="black"/>
                </a:solidFill>
              </a:rPr>
              <a:pPr/>
              <a:t>1/27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96258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9066677-F6DB-4D65-B38F-6102DEE5773C}" type="datetime1">
              <a:rPr lang="en-US" smtClean="0">
                <a:solidFill>
                  <a:prstClr val="black"/>
                </a:solidFill>
              </a:rPr>
              <a:pPr/>
              <a:t>1/27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94127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E864DCF-8937-41AF-9397-C604AFA04C04}" type="datetime1">
              <a:rPr lang="en-US" smtClean="0">
                <a:solidFill>
                  <a:prstClr val="black"/>
                </a:solidFill>
              </a:rPr>
              <a:pPr/>
              <a:t>1/27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24409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buFont typeface="Arial" pitchFamily="34" charset="0"/>
              <a:buChar char="•"/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3E3948-EF4E-487D-A973-F020DFB0C13D}" type="datetime1">
              <a:rPr lang="en-US" smtClean="0"/>
              <a:pPr/>
              <a:t>1/27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D957F01-0396-45A9-B9E5-3EF821B91B6C}" type="datetime1">
              <a:rPr lang="en-US" smtClean="0">
                <a:solidFill>
                  <a:prstClr val="black"/>
                </a:solidFill>
              </a:rPr>
              <a:pPr/>
              <a:t>1/27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265852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031CF0A-EE07-4DC7-B646-E46D5CF42549}" type="datetime1">
              <a:rPr lang="en-US" smtClean="0">
                <a:solidFill>
                  <a:prstClr val="black"/>
                </a:solidFill>
              </a:rPr>
              <a:pPr/>
              <a:t>1/27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564419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5CEAED0-EDD4-47F0-8B83-A0BFAC7192C5}" type="datetime1">
              <a:rPr lang="en-US" smtClean="0">
                <a:solidFill>
                  <a:prstClr val="black"/>
                </a:solidFill>
              </a:rPr>
              <a:pPr/>
              <a:t>1/27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68935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1371600"/>
            <a:ext cx="7772400" cy="2505075"/>
          </a:xfrm>
        </p:spPr>
        <p:txBody>
          <a:bodyPr anchor="b"/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kern="1200" dirty="0" smtClean="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4068763"/>
            <a:ext cx="7772400" cy="1131887"/>
          </a:xfrm>
        </p:spPr>
        <p:txBody>
          <a:bodyPr anchor="t"/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382192-DBA8-43EE-99A4-050572532554}" type="datetime1">
              <a:rPr lang="en-US" smtClean="0"/>
              <a:pPr/>
              <a:t>1/27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4495800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val 7"/>
          <p:cNvSpPr/>
          <p:nvPr/>
        </p:nvSpPr>
        <p:spPr>
          <a:xfrm>
            <a:off x="4695825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val 8"/>
          <p:cNvSpPr/>
          <p:nvPr/>
        </p:nvSpPr>
        <p:spPr>
          <a:xfrm>
            <a:off x="4296728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CC562-935D-439C-A9D0-99D4A236FD23}" type="datetime1">
              <a:rPr lang="en-US" smtClean="0"/>
              <a:pPr/>
              <a:t>1/27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65760" y="1600200"/>
            <a:ext cx="4041648" cy="452628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4040188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8200" y="1600200"/>
            <a:ext cx="4041775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5759BC-0EB8-42E7-A3E5-26D3D51497DF}" type="datetime1">
              <a:rPr lang="en-US" smtClean="0"/>
              <a:pPr/>
              <a:t>1/27/2018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57200" y="2212848"/>
            <a:ext cx="4041648" cy="391363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4672584" y="2212848"/>
            <a:ext cx="4041648" cy="39131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431F1A-BFC5-405E-A04F-D0A8DD753E51}" type="datetime1">
              <a:rPr lang="en-US" smtClean="0"/>
              <a:pPr/>
              <a:t>1/27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34B6A5-54F2-4F05-9229-C065F0C5A5E7}" type="datetime1">
              <a:rPr lang="en-US" smtClean="0"/>
              <a:pPr/>
              <a:t>1/27/2018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07087" y="266700"/>
            <a:ext cx="3008313" cy="209550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>
                <a:effectLst>
                  <a:outerShdw blurRad="50800" dist="25400" dir="5400000" algn="t" rotWithShape="0">
                    <a:prstClr val="black">
                      <a:alpha val="25000"/>
                    </a:prstClr>
                  </a:outerShdw>
                </a:effectLst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9137" y="273050"/>
            <a:ext cx="4995863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907087" y="2438400"/>
            <a:ext cx="3008313" cy="3687763"/>
          </a:xfrm>
        </p:spPr>
        <p:txBody>
          <a:bodyPr>
            <a:normAutofit/>
          </a:bodyPr>
          <a:lstStyle>
            <a:lvl1pPr marL="0" indent="0" algn="ctr">
              <a:lnSpc>
                <a:spcPct val="125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B801CD-400D-4959-9D90-8FBA5EEFE16D}" type="datetime1">
              <a:rPr lang="en-US" smtClean="0"/>
              <a:pPr/>
              <a:t>1/27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6" y="228600"/>
            <a:ext cx="5711824" cy="89535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508126" y="1143000"/>
            <a:ext cx="6054724" cy="4541044"/>
          </a:xfrm>
          <a:ln w="76200">
            <a:solidFill>
              <a:schemeClr val="bg1"/>
            </a:solidFill>
          </a:ln>
          <a:effectLst>
            <a:outerShdw blurRad="88900" dist="50800" dir="5400000" algn="ctr" rotWithShape="0">
              <a:srgbClr val="000000">
                <a:alpha val="25000"/>
              </a:srgbClr>
            </a:outerShdw>
          </a:effectLst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9576" y="5810250"/>
            <a:ext cx="5711824" cy="5334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650644-5C5C-4C15-8677-274220AE684D}" type="datetime1">
              <a:rPr lang="en-US" smtClean="0"/>
              <a:pPr/>
              <a:t>1/27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6002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363347" y="6356350"/>
            <a:ext cx="2085975" cy="365125"/>
          </a:xfrm>
          <a:prstGeom prst="rect">
            <a:avLst/>
          </a:prstGeom>
        </p:spPr>
        <p:txBody>
          <a:bodyPr vert="horz" lIns="91440" tIns="45720" rIns="4572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A46F6BC-7E90-4C48-A62D-F06457316283}" type="datetime1">
              <a:rPr lang="en-US" smtClean="0"/>
              <a:pPr/>
              <a:t>1/27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59165" y="6356350"/>
            <a:ext cx="2847975" cy="365125"/>
          </a:xfrm>
          <a:prstGeom prst="rect">
            <a:avLst/>
          </a:prstGeom>
        </p:spPr>
        <p:txBody>
          <a:bodyPr vert="horz" lIns="4572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43278" y="6356350"/>
            <a:ext cx="561975" cy="365125"/>
          </a:xfrm>
          <a:prstGeom prst="rect">
            <a:avLst/>
          </a:prstGeom>
        </p:spPr>
        <p:txBody>
          <a:bodyPr vert="horz" lIns="27432" tIns="45720" rIns="4572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8228B8A-B7F7-4AE1-9522-DFDE1528AC7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8457760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US" sz="1800" kern="120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Oval 7"/>
          <p:cNvSpPr/>
          <p:nvPr/>
        </p:nvSpPr>
        <p:spPr>
          <a:xfrm>
            <a:off x="569119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hf hdr="0" dt="0"/>
  <p:txStyles>
    <p:titleStyle>
      <a:lvl1pPr algn="ctr" defTabSz="914400" rtl="0" eaLnBrk="1" latinLnBrk="0" hangingPunct="1">
        <a:lnSpc>
          <a:spcPts val="5800"/>
        </a:lnSpc>
        <a:spcBef>
          <a:spcPct val="0"/>
        </a:spcBef>
        <a:buNone/>
        <a:defRPr sz="5400" kern="1200">
          <a:solidFill>
            <a:schemeClr val="tx2"/>
          </a:solidFill>
          <a:effectLst>
            <a:outerShdw blurRad="63500" dist="38100" dir="5400000" algn="t" rotWithShape="0">
              <a:prstClr val="black">
                <a:alpha val="25000"/>
              </a:prstClr>
            </a:outerShdw>
          </a:effectLst>
          <a:latin typeface="+mn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en-US" dirty="0"/>
          </a:p>
        </p:txBody>
      </p:sp>
      <p:sp>
        <p:nvSpPr>
          <p:cNvPr id="7" name="Rectangle 20"/>
          <p:cNvSpPr txBox="1">
            <a:spLocks noChangeArrowheads="1"/>
          </p:cNvSpPr>
          <p:nvPr/>
        </p:nvSpPr>
        <p:spPr>
          <a:xfrm>
            <a:off x="285720" y="6597581"/>
            <a:ext cx="1219200" cy="228600"/>
          </a:xfrm>
          <a:prstGeom prst="rect">
            <a:avLst/>
          </a:prstGeom>
          <a:noFill/>
        </p:spPr>
        <p:txBody>
          <a:bodyPr/>
          <a:lstStyle/>
          <a:p>
            <a:pPr>
              <a:defRPr/>
            </a:pPr>
            <a:fld id="{634B1AA2-1421-4123-B46B-C773544C4A12}" type="datetime4">
              <a:rPr lang="en-US" sz="8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>
                <a:defRPr/>
              </a:pPr>
              <a:t>January 27, 2018</a:t>
            </a:fld>
            <a:endParaRPr lang="en-US" sz="800" dirty="0">
              <a:solidFill>
                <a:prstClr val="white">
                  <a:lumMod val="50000"/>
                </a:prstClr>
              </a:solidFill>
              <a:latin typeface="Candara" panose="020E0502030303020204" pitchFamily="34" charset="0"/>
            </a:endParaRPr>
          </a:p>
        </p:txBody>
      </p:sp>
      <p:sp>
        <p:nvSpPr>
          <p:cNvPr id="8" name="Text Box 9"/>
          <p:cNvSpPr txBox="1">
            <a:spLocks noChangeArrowheads="1"/>
          </p:cNvSpPr>
          <p:nvPr/>
        </p:nvSpPr>
        <p:spPr bwMode="auto">
          <a:xfrm>
            <a:off x="1271234" y="6597581"/>
            <a:ext cx="14318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ja-JP" sz="8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Proprietary and Confidential </a:t>
            </a:r>
          </a:p>
        </p:txBody>
      </p:sp>
      <p:sp>
        <p:nvSpPr>
          <p:cNvPr id="9" name="Text Box 5"/>
          <p:cNvSpPr txBox="1">
            <a:spLocks noChangeArrowheads="1"/>
          </p:cNvSpPr>
          <p:nvPr/>
        </p:nvSpPr>
        <p:spPr bwMode="gray">
          <a:xfrm>
            <a:off x="2750256" y="6631701"/>
            <a:ext cx="237244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b" anchorCtr="1">
            <a:spAutoFit/>
          </a:bodyPr>
          <a:lstStyle/>
          <a:p>
            <a:pPr algn="ctr" eaLnBrk="0" hangingPunct="0"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 </a:t>
            </a:r>
            <a:fld id="{F47D9766-21FB-48EB-955B-1DFC7B4C9F61}" type="slidenum">
              <a:rPr lang="en-US" sz="9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 algn="ctr" eaLnBrk="0" hangingPunct="0"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9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 </a:t>
            </a: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</a:t>
            </a:r>
          </a:p>
        </p:txBody>
      </p:sp>
      <p:cxnSp>
        <p:nvCxnSpPr>
          <p:cNvPr id="12" name="Straight Connector 11"/>
          <p:cNvCxnSpPr/>
          <p:nvPr/>
        </p:nvCxnSpPr>
        <p:spPr>
          <a:xfrm>
            <a:off x="1260144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2679678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381000" y="6610350"/>
            <a:ext cx="68389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4575" y="6321425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Freeform 4"/>
          <p:cNvSpPr>
            <a:spLocks/>
          </p:cNvSpPr>
          <p:nvPr userDrawn="1">
            <p:custDataLst>
              <p:tags r:id="rId13"/>
            </p:custDataLst>
          </p:nvPr>
        </p:nvSpPr>
        <p:spPr bwMode="auto">
          <a:xfrm>
            <a:off x="0" y="511175"/>
            <a:ext cx="9144000" cy="67151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00B0F0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>
              <a:defRPr/>
            </a:pPr>
            <a:endParaRPr lang="fr-FR" dirty="0">
              <a:solidFill>
                <a:srgbClr val="9BBB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9746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800" b="1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2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jpe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11.gif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4.png"/><Relationship Id="rId5" Type="http://schemas.openxmlformats.org/officeDocument/2006/relationships/image" Target="../media/image13.jpeg"/><Relationship Id="rId4" Type="http://schemas.openxmlformats.org/officeDocument/2006/relationships/image" Target="../media/image12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7.xml"/><Relationship Id="rId13" Type="http://schemas.openxmlformats.org/officeDocument/2006/relationships/diagramData" Target="../diagrams/data8.xml"/><Relationship Id="rId18" Type="http://schemas.openxmlformats.org/officeDocument/2006/relationships/diagramData" Target="../diagrams/data9.xml"/><Relationship Id="rId26" Type="http://schemas.openxmlformats.org/officeDocument/2006/relationships/diagramColors" Target="../diagrams/colors10.xml"/><Relationship Id="rId39" Type="http://schemas.openxmlformats.org/officeDocument/2006/relationships/diagramLayout" Target="../diagrams/layout13.xml"/><Relationship Id="rId3" Type="http://schemas.openxmlformats.org/officeDocument/2006/relationships/diagramData" Target="../diagrams/data6.xml"/><Relationship Id="rId21" Type="http://schemas.openxmlformats.org/officeDocument/2006/relationships/diagramColors" Target="../diagrams/colors9.xml"/><Relationship Id="rId34" Type="http://schemas.openxmlformats.org/officeDocument/2006/relationships/diagramLayout" Target="../diagrams/layout12.xml"/><Relationship Id="rId42" Type="http://schemas.microsoft.com/office/2007/relationships/diagramDrawing" Target="../diagrams/drawing13.xml"/><Relationship Id="rId47" Type="http://schemas.microsoft.com/office/2007/relationships/diagramDrawing" Target="../diagrams/drawing14.xml"/><Relationship Id="rId7" Type="http://schemas.microsoft.com/office/2007/relationships/diagramDrawing" Target="../diagrams/drawing6.xml"/><Relationship Id="rId12" Type="http://schemas.microsoft.com/office/2007/relationships/diagramDrawing" Target="../diagrams/drawing7.xml"/><Relationship Id="rId17" Type="http://schemas.microsoft.com/office/2007/relationships/diagramDrawing" Target="../diagrams/drawing8.xml"/><Relationship Id="rId25" Type="http://schemas.openxmlformats.org/officeDocument/2006/relationships/diagramQuickStyle" Target="../diagrams/quickStyle10.xml"/><Relationship Id="rId33" Type="http://schemas.openxmlformats.org/officeDocument/2006/relationships/diagramData" Target="../diagrams/data12.xml"/><Relationship Id="rId38" Type="http://schemas.openxmlformats.org/officeDocument/2006/relationships/diagramData" Target="../diagrams/data13.xml"/><Relationship Id="rId46" Type="http://schemas.openxmlformats.org/officeDocument/2006/relationships/diagramColors" Target="../diagrams/colors14.xml"/><Relationship Id="rId2" Type="http://schemas.openxmlformats.org/officeDocument/2006/relationships/notesSlide" Target="../notesSlides/notesSlide5.xml"/><Relationship Id="rId16" Type="http://schemas.openxmlformats.org/officeDocument/2006/relationships/diagramColors" Target="../diagrams/colors8.xml"/><Relationship Id="rId20" Type="http://schemas.openxmlformats.org/officeDocument/2006/relationships/diagramQuickStyle" Target="../diagrams/quickStyle9.xml"/><Relationship Id="rId29" Type="http://schemas.openxmlformats.org/officeDocument/2006/relationships/diagramLayout" Target="../diagrams/layout11.xml"/><Relationship Id="rId41" Type="http://schemas.openxmlformats.org/officeDocument/2006/relationships/diagramColors" Target="../diagrams/colors13.xml"/><Relationship Id="rId1" Type="http://schemas.openxmlformats.org/officeDocument/2006/relationships/slideLayout" Target="../slideLayouts/slideLayout18.xml"/><Relationship Id="rId6" Type="http://schemas.openxmlformats.org/officeDocument/2006/relationships/diagramColors" Target="../diagrams/colors6.xml"/><Relationship Id="rId11" Type="http://schemas.openxmlformats.org/officeDocument/2006/relationships/diagramColors" Target="../diagrams/colors7.xml"/><Relationship Id="rId24" Type="http://schemas.openxmlformats.org/officeDocument/2006/relationships/diagramLayout" Target="../diagrams/layout10.xml"/><Relationship Id="rId32" Type="http://schemas.microsoft.com/office/2007/relationships/diagramDrawing" Target="../diagrams/drawing11.xml"/><Relationship Id="rId37" Type="http://schemas.microsoft.com/office/2007/relationships/diagramDrawing" Target="../diagrams/drawing12.xml"/><Relationship Id="rId40" Type="http://schemas.openxmlformats.org/officeDocument/2006/relationships/diagramQuickStyle" Target="../diagrams/quickStyle13.xml"/><Relationship Id="rId45" Type="http://schemas.openxmlformats.org/officeDocument/2006/relationships/diagramQuickStyle" Target="../diagrams/quickStyle14.xml"/><Relationship Id="rId5" Type="http://schemas.openxmlformats.org/officeDocument/2006/relationships/diagramQuickStyle" Target="../diagrams/quickStyle6.xml"/><Relationship Id="rId15" Type="http://schemas.openxmlformats.org/officeDocument/2006/relationships/diagramQuickStyle" Target="../diagrams/quickStyle8.xml"/><Relationship Id="rId23" Type="http://schemas.openxmlformats.org/officeDocument/2006/relationships/diagramData" Target="../diagrams/data10.xml"/><Relationship Id="rId28" Type="http://schemas.openxmlformats.org/officeDocument/2006/relationships/diagramData" Target="../diagrams/data11.xml"/><Relationship Id="rId36" Type="http://schemas.openxmlformats.org/officeDocument/2006/relationships/diagramColors" Target="../diagrams/colors12.xml"/><Relationship Id="rId10" Type="http://schemas.openxmlformats.org/officeDocument/2006/relationships/diagramQuickStyle" Target="../diagrams/quickStyle7.xml"/><Relationship Id="rId19" Type="http://schemas.openxmlformats.org/officeDocument/2006/relationships/diagramLayout" Target="../diagrams/layout9.xml"/><Relationship Id="rId31" Type="http://schemas.openxmlformats.org/officeDocument/2006/relationships/diagramColors" Target="../diagrams/colors11.xml"/><Relationship Id="rId44" Type="http://schemas.openxmlformats.org/officeDocument/2006/relationships/diagramLayout" Target="../diagrams/layout14.xml"/><Relationship Id="rId4" Type="http://schemas.openxmlformats.org/officeDocument/2006/relationships/diagramLayout" Target="../diagrams/layout6.xml"/><Relationship Id="rId9" Type="http://schemas.openxmlformats.org/officeDocument/2006/relationships/diagramLayout" Target="../diagrams/layout7.xml"/><Relationship Id="rId14" Type="http://schemas.openxmlformats.org/officeDocument/2006/relationships/diagramLayout" Target="../diagrams/layout8.xml"/><Relationship Id="rId22" Type="http://schemas.microsoft.com/office/2007/relationships/diagramDrawing" Target="../diagrams/drawing9.xml"/><Relationship Id="rId27" Type="http://schemas.microsoft.com/office/2007/relationships/diagramDrawing" Target="../diagrams/drawing10.xml"/><Relationship Id="rId30" Type="http://schemas.openxmlformats.org/officeDocument/2006/relationships/diagramQuickStyle" Target="../diagrams/quickStyle11.xml"/><Relationship Id="rId35" Type="http://schemas.openxmlformats.org/officeDocument/2006/relationships/diagramQuickStyle" Target="../diagrams/quickStyle12.xml"/><Relationship Id="rId43" Type="http://schemas.openxmlformats.org/officeDocument/2006/relationships/diagramData" Target="../diagrams/data14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hyperlink" Target="../RVFD/Hotel%20Bookings%20Management%20System_Admin.xls" TargetMode="External"/><Relationship Id="rId7" Type="http://schemas.openxmlformats.org/officeDocument/2006/relationships/image" Target="../media/image10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Relationship Id="rId6" Type="http://schemas.openxmlformats.org/officeDocument/2006/relationships/hyperlink" Target="../RVFD/Hotel%20Bookings%20Management%20System_Customer.xls" TargetMode="External"/><Relationship Id="rId5" Type="http://schemas.openxmlformats.org/officeDocument/2006/relationships/hyperlink" Target="../RVFD/Hotel%20Bookings%20Management%20System_Employee.xls" TargetMode="External"/><Relationship Id="rId10" Type="http://schemas.openxmlformats.org/officeDocument/2006/relationships/image" Target="../media/image14.png"/><Relationship Id="rId4" Type="http://schemas.openxmlformats.org/officeDocument/2006/relationships/image" Target="../media/image11.gif"/><Relationship Id="rId9" Type="http://schemas.openxmlformats.org/officeDocument/2006/relationships/image" Target="../media/image13.jpe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hyperlink" Target="Project%20-%20Copy%20Updated/Use%20Cases/Hotel%20Booking%20Management%20Sysytem%20Use%20Case%20Admin.doc" TargetMode="External"/><Relationship Id="rId7" Type="http://schemas.openxmlformats.org/officeDocument/2006/relationships/image" Target="../media/image10.jpeg"/><Relationship Id="rId2" Type="http://schemas.openxmlformats.org/officeDocument/2006/relationships/hyperlink" Target="../Use%20Cases/Hotel%20Booking%20Management%20Sysytem%20Use%20Case%20Admin.doc" TargetMode="External"/><Relationship Id="rId1" Type="http://schemas.openxmlformats.org/officeDocument/2006/relationships/slideLayout" Target="../slideLayouts/slideLayout13.xml"/><Relationship Id="rId6" Type="http://schemas.openxmlformats.org/officeDocument/2006/relationships/hyperlink" Target="../Use%20Cases/Hotel%20Booking%20Management%20Sysytem%20Use%20Case%20Customer.doc" TargetMode="External"/><Relationship Id="rId5" Type="http://schemas.openxmlformats.org/officeDocument/2006/relationships/hyperlink" Target="../Use%20Cases/Hotel%20Booking%20Management%20Sysytem%20Use%20Case%20Employee.doc" TargetMode="External"/><Relationship Id="rId10" Type="http://schemas.openxmlformats.org/officeDocument/2006/relationships/image" Target="../media/image14.png"/><Relationship Id="rId4" Type="http://schemas.openxmlformats.org/officeDocument/2006/relationships/image" Target="../media/image11.gif"/><Relationship Id="rId9" Type="http://schemas.openxmlformats.org/officeDocument/2006/relationships/image" Target="../media/image13.jpe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1.gif"/><Relationship Id="rId5" Type="http://schemas.openxmlformats.org/officeDocument/2006/relationships/image" Target="../media/image14.png"/><Relationship Id="rId4" Type="http://schemas.openxmlformats.org/officeDocument/2006/relationships/image" Target="../media/image13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15.gif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6.jpe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15.gif"/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gi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7.jpeg"/><Relationship Id="rId4" Type="http://schemas.openxmlformats.org/officeDocument/2006/relationships/image" Target="../media/image10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3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wmf"/><Relationship Id="rId2" Type="http://schemas.openxmlformats.org/officeDocument/2006/relationships/image" Target="../media/image7.wmf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9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7" Type="http://schemas.openxmlformats.org/officeDocument/2006/relationships/image" Target="../media/image10.jpeg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15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>
            <a:off x="0" y="6310313"/>
            <a:ext cx="9144000" cy="5476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13317" name="TextBox 10"/>
          <p:cNvSpPr txBox="1">
            <a:spLocks noChangeArrowheads="1"/>
          </p:cNvSpPr>
          <p:nvPr/>
        </p:nvSpPr>
        <p:spPr bwMode="auto">
          <a:xfrm>
            <a:off x="480597" y="541338"/>
            <a:ext cx="8053738" cy="15696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n-US" sz="4800" b="1" dirty="0" smtClean="0">
                <a:solidFill>
                  <a:schemeClr val="bg1"/>
                </a:solidFill>
                <a:latin typeface="Algerian" panose="04020705040A02060702" pitchFamily="82" charset="0"/>
              </a:rPr>
              <a:t>Hotel Booking Management System</a:t>
            </a:r>
            <a:endParaRPr lang="en-US" sz="4800" b="1" dirty="0">
              <a:solidFill>
                <a:schemeClr val="bg1"/>
              </a:solidFill>
              <a:latin typeface="Algerian" panose="04020705040A02060702" pitchFamily="82" charset="0"/>
            </a:endParaRPr>
          </a:p>
        </p:txBody>
      </p:sp>
      <p:sp>
        <p:nvSpPr>
          <p:cNvPr id="13318" name="TextBox 11"/>
          <p:cNvSpPr txBox="1">
            <a:spLocks noChangeArrowheads="1"/>
          </p:cNvSpPr>
          <p:nvPr/>
        </p:nvSpPr>
        <p:spPr bwMode="auto">
          <a:xfrm>
            <a:off x="6770688" y="5240338"/>
            <a:ext cx="179705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r>
              <a:rPr lang="en-US" sz="900" dirty="0">
                <a:solidFill>
                  <a:schemeClr val="bg1"/>
                </a:solidFill>
                <a:latin typeface="Candara" pitchFamily="34" charset="0"/>
              </a:rPr>
              <a:t>IGATE is now a part of Capgemini</a:t>
            </a:r>
          </a:p>
        </p:txBody>
      </p:sp>
      <p:pic>
        <p:nvPicPr>
          <p:cNvPr id="13319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0" y="0"/>
            <a:ext cx="9144000" cy="5413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21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125" y="5921375"/>
            <a:ext cx="2163763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505200" y="6096001"/>
            <a:ext cx="1600200" cy="365125"/>
          </a:xfrm>
        </p:spPr>
        <p:txBody>
          <a:bodyPr/>
          <a:lstStyle/>
          <a:p>
            <a:r>
              <a:rPr lang="en-US" dirty="0" smtClean="0"/>
              <a:t>Capgemini Public</a:t>
            </a:r>
            <a:endParaRPr lang="en-US" dirty="0"/>
          </a:p>
        </p:txBody>
      </p:sp>
      <p:pic>
        <p:nvPicPr>
          <p:cNvPr id="12" name="Picture 3" descr="C:\Users\AMHADKAR\Desktop\slide1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981200"/>
            <a:ext cx="9144000" cy="4908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8809375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798534" y="72644"/>
            <a:ext cx="8382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 smtClean="0">
                <a:latin typeface="Cambria" panose="02040503050406030204" pitchFamily="18" charset="0"/>
              </a:rPr>
              <a:t>TEST CASES</a:t>
            </a:r>
            <a:endParaRPr lang="en-US" sz="3200" dirty="0">
              <a:latin typeface="Cambria" panose="02040503050406030204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27713" y="1447800"/>
            <a:ext cx="8311487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>
                <a:latin typeface="Cambria" panose="02040503050406030204" pitchFamily="18" charset="0"/>
              </a:rPr>
              <a:t>Testing is a process that helps in finding out how well the product works:</a:t>
            </a:r>
          </a:p>
          <a:p>
            <a:r>
              <a:rPr lang="en-US" sz="2400" dirty="0" smtClean="0">
                <a:latin typeface="Cambria" panose="02040503050406030204" pitchFamily="18" charset="0"/>
              </a:rPr>
              <a:t>Aimed at finding defects.</a:t>
            </a:r>
          </a:p>
          <a:p>
            <a:endParaRPr lang="en-US" sz="2400" dirty="0" smtClean="0">
              <a:latin typeface="Cambria" panose="02040503050406030204" pitchFamily="18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2400" dirty="0" smtClean="0">
                <a:latin typeface="Cambria" panose="02040503050406030204" pitchFamily="18" charset="0"/>
              </a:rPr>
              <a:t>Aimed at demonstrating lack of quality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2400" dirty="0" smtClean="0">
                <a:latin typeface="Cambria" panose="02040503050406030204" pitchFamily="18" charset="0"/>
              </a:rPr>
              <a:t>Aimed at demonstrating the gap between specification and actual product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2400" dirty="0" smtClean="0">
                <a:latin typeface="Cambria" panose="02040503050406030204" pitchFamily="18" charset="0"/>
              </a:rPr>
              <a:t>Aimed at building faith in the end product that gives advise on quality and risk.</a:t>
            </a:r>
            <a:endParaRPr lang="en-US" sz="2400" dirty="0">
              <a:latin typeface="Cambria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26310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 smtClean="0">
                <a:solidFill>
                  <a:schemeClr val="tx1"/>
                </a:solidFill>
                <a:latin typeface="Candara Bold" pitchFamily="34" charset="0"/>
              </a:rPr>
              <a:t>      </a:t>
            </a:r>
            <a:r>
              <a:rPr lang="en-US" sz="3200" dirty="0" smtClean="0">
                <a:solidFill>
                  <a:schemeClr val="tx1"/>
                </a:solidFill>
                <a:latin typeface="Cambria" panose="02040503050406030204" pitchFamily="18" charset="0"/>
              </a:rPr>
              <a:t>TEST CASES</a:t>
            </a:r>
            <a:endParaRPr lang="en-US" sz="3200" dirty="0">
              <a:solidFill>
                <a:schemeClr val="tx1"/>
              </a:solidFill>
              <a:latin typeface="Cambria" panose="020405030504060302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32500" lnSpcReduction="20000"/>
          </a:bodyPr>
          <a:lstStyle/>
          <a:p>
            <a:pPr>
              <a:buFont typeface="Wingdings" pitchFamily="2" charset="2"/>
              <a:buChar char="Ø"/>
            </a:pPr>
            <a:r>
              <a:rPr lang="en-US" sz="6000" b="1" dirty="0">
                <a:solidFill>
                  <a:schemeClr val="tx1"/>
                </a:solidFill>
              </a:rPr>
              <a:t>Admin    </a:t>
            </a:r>
            <a:r>
              <a:rPr lang="en-US" sz="3600" b="1" dirty="0"/>
              <a:t>          </a:t>
            </a:r>
          </a:p>
          <a:p>
            <a:pPr lvl="3">
              <a:buBlip>
                <a:blip r:embed="rId2"/>
              </a:buBlip>
            </a:pPr>
            <a:r>
              <a:rPr lang="en-US" sz="4300" b="1" dirty="0" smtClean="0"/>
              <a:t>Admin Login</a:t>
            </a:r>
            <a:endParaRPr lang="en-US" sz="4300" b="1" dirty="0"/>
          </a:p>
          <a:p>
            <a:pPr lvl="3">
              <a:buBlip>
                <a:blip r:embed="rId2"/>
              </a:buBlip>
            </a:pPr>
            <a:r>
              <a:rPr lang="en-US" sz="4300" b="1" dirty="0" smtClean="0"/>
              <a:t>Add Hotel</a:t>
            </a:r>
          </a:p>
          <a:p>
            <a:pPr lvl="3">
              <a:buBlip>
                <a:blip r:embed="rId2"/>
              </a:buBlip>
            </a:pPr>
            <a:r>
              <a:rPr lang="en-US" sz="4300" b="1" dirty="0" smtClean="0"/>
              <a:t>Add Hotel with Flight</a:t>
            </a:r>
          </a:p>
          <a:p>
            <a:pPr lvl="3">
              <a:buBlip>
                <a:blip r:embed="rId2"/>
              </a:buBlip>
            </a:pPr>
            <a:r>
              <a:rPr lang="en-US" sz="4300" b="1" dirty="0" smtClean="0"/>
              <a:t>Add Hotel with Cab</a:t>
            </a:r>
            <a:endParaRPr lang="en-US" sz="4300" b="1" dirty="0"/>
          </a:p>
          <a:p>
            <a:pPr lvl="3">
              <a:buBlip>
                <a:blip r:embed="rId2"/>
              </a:buBlip>
            </a:pPr>
            <a:r>
              <a:rPr lang="en-US" sz="4300" b="1" dirty="0" smtClean="0"/>
              <a:t>Update Hotel</a:t>
            </a:r>
          </a:p>
          <a:p>
            <a:pPr lvl="3">
              <a:buBlip>
                <a:blip r:embed="rId2"/>
              </a:buBlip>
            </a:pPr>
            <a:r>
              <a:rPr lang="en-US" sz="4300" b="1" dirty="0" smtClean="0"/>
              <a:t>Delete Hotel</a:t>
            </a:r>
          </a:p>
          <a:p>
            <a:pPr marL="466344" lvl="3" indent="0">
              <a:buNone/>
            </a:pPr>
            <a:endParaRPr lang="en-US" sz="2700" dirty="0"/>
          </a:p>
          <a:p>
            <a:pPr>
              <a:buFont typeface="Wingdings" pitchFamily="2" charset="2"/>
              <a:buChar char="Ø"/>
            </a:pPr>
            <a:r>
              <a:rPr lang="en-US" sz="6000" dirty="0" smtClean="0">
                <a:solidFill>
                  <a:schemeClr val="tx1"/>
                </a:solidFill>
              </a:rPr>
              <a:t>Employee</a:t>
            </a:r>
          </a:p>
          <a:p>
            <a:pPr lvl="3">
              <a:buBlip>
                <a:blip r:embed="rId2"/>
              </a:buBlip>
            </a:pPr>
            <a:r>
              <a:rPr lang="en-US" sz="4300" b="1" dirty="0" smtClean="0"/>
              <a:t>Employee </a:t>
            </a:r>
            <a:r>
              <a:rPr lang="en-US" sz="4300" b="1" dirty="0"/>
              <a:t>Login</a:t>
            </a:r>
          </a:p>
          <a:p>
            <a:pPr lvl="3">
              <a:buBlip>
                <a:blip r:embed="rId2"/>
              </a:buBlip>
            </a:pPr>
            <a:r>
              <a:rPr lang="en-US" sz="4300" b="1" dirty="0" smtClean="0"/>
              <a:t>Search Hotel</a:t>
            </a:r>
            <a:endParaRPr lang="en-US" sz="4300" b="1" dirty="0"/>
          </a:p>
          <a:p>
            <a:pPr lvl="3">
              <a:buBlip>
                <a:blip r:embed="rId2"/>
              </a:buBlip>
            </a:pPr>
            <a:r>
              <a:rPr lang="en-US" sz="4300" b="1" dirty="0" smtClean="0"/>
              <a:t>Book Rooms</a:t>
            </a:r>
            <a:endParaRPr lang="en-US" sz="4300" b="1" dirty="0"/>
          </a:p>
          <a:p>
            <a:pPr marL="0" indent="0">
              <a:buNone/>
            </a:pPr>
            <a:endParaRPr lang="en-US" sz="2700" dirty="0"/>
          </a:p>
          <a:p>
            <a:pPr>
              <a:buFont typeface="Wingdings" pitchFamily="2" charset="2"/>
              <a:buChar char="Ø"/>
            </a:pPr>
            <a:r>
              <a:rPr lang="en-US" sz="6000" dirty="0">
                <a:solidFill>
                  <a:schemeClr val="tx1"/>
                </a:solidFill>
              </a:rPr>
              <a:t>Customer</a:t>
            </a:r>
          </a:p>
          <a:p>
            <a:pPr lvl="3">
              <a:buBlip>
                <a:blip r:embed="rId2"/>
              </a:buBlip>
            </a:pPr>
            <a:r>
              <a:rPr lang="en-US" sz="4300" b="1" dirty="0" smtClean="0"/>
              <a:t>Customer </a:t>
            </a:r>
            <a:r>
              <a:rPr lang="en-US" sz="4300" b="1" dirty="0"/>
              <a:t>Login</a:t>
            </a:r>
          </a:p>
          <a:p>
            <a:pPr lvl="3">
              <a:buBlip>
                <a:blip r:embed="rId2"/>
              </a:buBlip>
            </a:pPr>
            <a:r>
              <a:rPr lang="en-US" sz="4300" b="1" dirty="0" smtClean="0"/>
              <a:t>Search Hotel</a:t>
            </a:r>
          </a:p>
          <a:p>
            <a:pPr lvl="3">
              <a:buBlip>
                <a:blip r:embed="rId2"/>
              </a:buBlip>
            </a:pPr>
            <a:r>
              <a:rPr lang="en-US" sz="4300" b="1" dirty="0" smtClean="0"/>
              <a:t>Book Rooms</a:t>
            </a:r>
          </a:p>
          <a:p>
            <a:endParaRPr lang="en-US" sz="4300" dirty="0" smtClean="0"/>
          </a:p>
          <a:p>
            <a:endParaRPr lang="en-US" sz="4300" dirty="0"/>
          </a:p>
        </p:txBody>
      </p:sp>
      <p:pic>
        <p:nvPicPr>
          <p:cNvPr id="4" name="Picture 2" descr="C:\Users\bsallapu\Downloads\capgemini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2234" y="6192078"/>
            <a:ext cx="2301766" cy="665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4715" y="1818203"/>
            <a:ext cx="909010" cy="11176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3339" y="4648200"/>
            <a:ext cx="1435246" cy="102268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73610" y="3040038"/>
            <a:ext cx="1306848" cy="1335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82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Content="1"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Cambria" panose="02040503050406030204" pitchFamily="18" charset="0"/>
              </a:rPr>
              <a:t>Requirement Itemization</a:t>
            </a:r>
            <a:endParaRPr lang="en-US" dirty="0">
              <a:latin typeface="Cambria" panose="020405030504060302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000" b="0" dirty="0">
                <a:solidFill>
                  <a:schemeClr val="tx1"/>
                </a:solidFill>
                <a:latin typeface="Bookman Old Style" panose="02050604050505020204" pitchFamily="18" charset="0"/>
              </a:rPr>
              <a:t>User-friendly interface.</a:t>
            </a:r>
          </a:p>
          <a:p>
            <a:r>
              <a:rPr lang="en-US" sz="2000" b="0" dirty="0">
                <a:solidFill>
                  <a:schemeClr val="tx1"/>
                </a:solidFill>
                <a:latin typeface="Bookman Old Style" panose="02050604050505020204" pitchFamily="18" charset="0"/>
              </a:rPr>
              <a:t>Mobile-friendly.</a:t>
            </a:r>
          </a:p>
          <a:p>
            <a:r>
              <a:rPr lang="en-US" sz="2000" b="0" dirty="0">
                <a:solidFill>
                  <a:schemeClr val="tx1"/>
                </a:solidFill>
                <a:latin typeface="Bookman Old Style" panose="02050604050505020204" pitchFamily="18" charset="0"/>
              </a:rPr>
              <a:t>Support for multiple language and currencies.</a:t>
            </a:r>
          </a:p>
          <a:p>
            <a:r>
              <a:rPr lang="en-US" sz="2000" b="0" dirty="0">
                <a:solidFill>
                  <a:schemeClr val="tx1"/>
                </a:solidFill>
                <a:latin typeface="Bookman Old Style" panose="02050604050505020204" pitchFamily="18" charset="0"/>
              </a:rPr>
              <a:t>Easy room management( reviews of the room).</a:t>
            </a:r>
          </a:p>
          <a:p>
            <a:r>
              <a:rPr lang="en-US" sz="2000" b="0" dirty="0">
                <a:solidFill>
                  <a:schemeClr val="tx1"/>
                </a:solidFill>
                <a:latin typeface="Bookman Old Style" panose="02050604050505020204" pitchFamily="18" charset="0"/>
              </a:rPr>
              <a:t>Integrated payment Gateway.</a:t>
            </a:r>
          </a:p>
          <a:p>
            <a:r>
              <a:rPr lang="en-US" sz="2000" b="0" dirty="0">
                <a:solidFill>
                  <a:schemeClr val="tx1"/>
                </a:solidFill>
                <a:latin typeface="Bookman Old Style" panose="02050604050505020204" pitchFamily="18" charset="0"/>
              </a:rPr>
              <a:t>Discounts.</a:t>
            </a:r>
          </a:p>
          <a:p>
            <a:r>
              <a:rPr lang="en-US" sz="2000" b="0" dirty="0">
                <a:solidFill>
                  <a:schemeClr val="tx1"/>
                </a:solidFill>
                <a:latin typeface="Bookman Old Style" panose="02050604050505020204" pitchFamily="18" charset="0"/>
              </a:rPr>
              <a:t>Easy search option.</a:t>
            </a:r>
          </a:p>
          <a:p>
            <a:endParaRPr lang="en-US" sz="2000" b="0" dirty="0">
              <a:solidFill>
                <a:schemeClr val="tx1"/>
              </a:solidFill>
              <a:latin typeface="Bookman Old Style" panose="02050604050505020204" pitchFamily="18" charset="0"/>
            </a:endParaRPr>
          </a:p>
          <a:p>
            <a:pPr marL="0" indent="0">
              <a:buNone/>
            </a:pPr>
            <a:endParaRPr lang="en-US" sz="2000" b="0" dirty="0">
              <a:solidFill>
                <a:schemeClr val="tx1"/>
              </a:solidFill>
              <a:latin typeface="Bookman Old Style" panose="02050604050505020204" pitchFamily="18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0217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/>
          <p:cNvSpPr txBox="1"/>
          <p:nvPr/>
        </p:nvSpPr>
        <p:spPr>
          <a:xfrm>
            <a:off x="533400" y="152400"/>
            <a:ext cx="80185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400" dirty="0" smtClean="0">
                <a:latin typeface="Cambria" panose="02040503050406030204" pitchFamily="18" charset="0"/>
              </a:rPr>
              <a:t>Requirements Validation And Functional Decomposition</a:t>
            </a:r>
            <a:endParaRPr lang="en-IN" sz="2400" dirty="0">
              <a:latin typeface="Cambria" panose="02040503050406030204" pitchFamily="18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527462" y="1221394"/>
            <a:ext cx="8001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endParaRPr lang="en-US" sz="2400" dirty="0">
              <a:latin typeface="Cambria" panose="02040503050406030204" pitchFamily="18" charset="0"/>
            </a:endParaRPr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4190656404"/>
              </p:ext>
            </p:extLst>
          </p:nvPr>
        </p:nvGraphicFramePr>
        <p:xfrm>
          <a:off x="4191000" y="990600"/>
          <a:ext cx="1828800" cy="914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2293510716"/>
              </p:ext>
            </p:extLst>
          </p:nvPr>
        </p:nvGraphicFramePr>
        <p:xfrm>
          <a:off x="762000" y="4953000"/>
          <a:ext cx="2209800" cy="152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8" name="Diagram 7"/>
          <p:cNvGraphicFramePr/>
          <p:nvPr>
            <p:extLst>
              <p:ext uri="{D42A27DB-BD31-4B8C-83A1-F6EECF244321}">
                <p14:modId xmlns:p14="http://schemas.microsoft.com/office/powerpoint/2010/main" val="1128722335"/>
              </p:ext>
            </p:extLst>
          </p:nvPr>
        </p:nvGraphicFramePr>
        <p:xfrm>
          <a:off x="3581400" y="5257800"/>
          <a:ext cx="1905000" cy="1219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graphicFrame>
        <p:nvGraphicFramePr>
          <p:cNvPr id="9" name="Diagram 8"/>
          <p:cNvGraphicFramePr/>
          <p:nvPr>
            <p:extLst>
              <p:ext uri="{D42A27DB-BD31-4B8C-83A1-F6EECF244321}">
                <p14:modId xmlns:p14="http://schemas.microsoft.com/office/powerpoint/2010/main" val="2935704134"/>
              </p:ext>
            </p:extLst>
          </p:nvPr>
        </p:nvGraphicFramePr>
        <p:xfrm>
          <a:off x="304800" y="3521122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8" r:lo="rId19" r:qs="rId20" r:cs="rId21"/>
          </a:graphicData>
        </a:graphic>
      </p:graphicFrame>
      <p:graphicFrame>
        <p:nvGraphicFramePr>
          <p:cNvPr id="10" name="Diagram 9"/>
          <p:cNvGraphicFramePr/>
          <p:nvPr>
            <p:extLst>
              <p:ext uri="{D42A27DB-BD31-4B8C-83A1-F6EECF244321}">
                <p14:modId xmlns:p14="http://schemas.microsoft.com/office/powerpoint/2010/main" val="1601620164"/>
              </p:ext>
            </p:extLst>
          </p:nvPr>
        </p:nvGraphicFramePr>
        <p:xfrm>
          <a:off x="304800" y="2111422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3" r:lo="rId24" r:qs="rId25" r:cs="rId26"/>
          </a:graphicData>
        </a:graphic>
      </p:graphicFrame>
      <p:graphicFrame>
        <p:nvGraphicFramePr>
          <p:cNvPr id="11" name="Diagram 10"/>
          <p:cNvGraphicFramePr/>
          <p:nvPr>
            <p:extLst>
              <p:ext uri="{D42A27DB-BD31-4B8C-83A1-F6EECF244321}">
                <p14:modId xmlns:p14="http://schemas.microsoft.com/office/powerpoint/2010/main" val="99687391"/>
              </p:ext>
            </p:extLst>
          </p:nvPr>
        </p:nvGraphicFramePr>
        <p:xfrm>
          <a:off x="1524000" y="1066800"/>
          <a:ext cx="1905000" cy="1066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8" r:lo="rId29" r:qs="rId30" r:cs="rId31"/>
          </a:graphicData>
        </a:graphic>
      </p:graphicFrame>
      <p:graphicFrame>
        <p:nvGraphicFramePr>
          <p:cNvPr id="12" name="Diagram 11"/>
          <p:cNvGraphicFramePr/>
          <p:nvPr>
            <p:extLst>
              <p:ext uri="{D42A27DB-BD31-4B8C-83A1-F6EECF244321}">
                <p14:modId xmlns:p14="http://schemas.microsoft.com/office/powerpoint/2010/main" val="2155611389"/>
              </p:ext>
            </p:extLst>
          </p:nvPr>
        </p:nvGraphicFramePr>
        <p:xfrm>
          <a:off x="6096000" y="1676400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3" r:lo="rId34" r:qs="rId35" r:cs="rId36"/>
          </a:graphicData>
        </a:graphic>
      </p:graphicFrame>
      <p:graphicFrame>
        <p:nvGraphicFramePr>
          <p:cNvPr id="14" name="Diagram 13"/>
          <p:cNvGraphicFramePr/>
          <p:nvPr>
            <p:extLst>
              <p:ext uri="{D42A27DB-BD31-4B8C-83A1-F6EECF244321}">
                <p14:modId xmlns:p14="http://schemas.microsoft.com/office/powerpoint/2010/main" val="3149295219"/>
              </p:ext>
            </p:extLst>
          </p:nvPr>
        </p:nvGraphicFramePr>
        <p:xfrm>
          <a:off x="5943600" y="2971800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8" r:lo="rId39" r:qs="rId40" r:cs="rId41"/>
          </a:graphicData>
        </a:graphic>
      </p:graphicFrame>
      <p:graphicFrame>
        <p:nvGraphicFramePr>
          <p:cNvPr id="15" name="Diagram 14"/>
          <p:cNvGraphicFramePr/>
          <p:nvPr>
            <p:extLst>
              <p:ext uri="{D42A27DB-BD31-4B8C-83A1-F6EECF244321}">
                <p14:modId xmlns:p14="http://schemas.microsoft.com/office/powerpoint/2010/main" val="3249684463"/>
              </p:ext>
            </p:extLst>
          </p:nvPr>
        </p:nvGraphicFramePr>
        <p:xfrm>
          <a:off x="5867400" y="4267200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3" r:lo="rId44" r:qs="rId45" r:cs="rId46"/>
          </a:graphicData>
        </a:graphic>
      </p:graphicFrame>
      <p:sp>
        <p:nvSpPr>
          <p:cNvPr id="16" name="Oval 15"/>
          <p:cNvSpPr/>
          <p:nvPr/>
        </p:nvSpPr>
        <p:spPr>
          <a:xfrm>
            <a:off x="3505200" y="2667000"/>
            <a:ext cx="1447800" cy="1524000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RVF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6404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465" y="0"/>
            <a:ext cx="10239828" cy="870856"/>
          </a:xfrm>
        </p:spPr>
        <p:txBody>
          <a:bodyPr anchor="ctr">
            <a:noAutofit/>
          </a:bodyPr>
          <a:lstStyle/>
          <a:p>
            <a:r>
              <a:rPr lang="en-US" dirty="0" smtClean="0">
                <a:solidFill>
                  <a:schemeClr val="tx1"/>
                </a:solidFill>
                <a:latin typeface="Cambria" panose="02040503050406030204" pitchFamily="18" charset="0"/>
                <a:cs typeface="Aharoni" pitchFamily="2" charset="-79"/>
              </a:rPr>
              <a:t>REQUIREMENTS VALIDATION AND FUNCTIONAL DECOMPOSITION</a:t>
            </a:r>
            <a:endParaRPr lang="en-US" dirty="0">
              <a:solidFill>
                <a:schemeClr val="tx1"/>
              </a:solidFill>
              <a:latin typeface="Cambria" panose="02040503050406030204" pitchFamily="18" charset="0"/>
              <a:cs typeface="Aharoni" pitchFamily="2" charset="-79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53571" y="1004827"/>
            <a:ext cx="7699829" cy="5187251"/>
          </a:xfrm>
          <a:solidFill>
            <a:schemeClr val="bg1"/>
          </a:solidFill>
        </p:spPr>
        <p:txBody>
          <a:bodyPr>
            <a:normAutofit fontScale="40000" lnSpcReduction="20000"/>
          </a:bodyPr>
          <a:lstStyle/>
          <a:p>
            <a:pPr>
              <a:buFont typeface="Wingdings" pitchFamily="2" charset="2"/>
              <a:buChar char="Ø"/>
            </a:pPr>
            <a:r>
              <a:rPr lang="en-US" sz="6000" dirty="0">
                <a:solidFill>
                  <a:schemeClr val="tx1"/>
                </a:solidFill>
                <a:hlinkClick r:id="rId3" action="ppaction://hlinkfile"/>
              </a:rPr>
              <a:t>Admin  </a:t>
            </a:r>
            <a:r>
              <a:rPr lang="en-US" sz="6000" dirty="0">
                <a:hlinkClick r:id="rId3" action="ppaction://hlinkfile"/>
              </a:rPr>
              <a:t>  </a:t>
            </a:r>
            <a:r>
              <a:rPr lang="en-US" sz="3600" dirty="0">
                <a:hlinkClick r:id="rId3" action="ppaction://hlinkfile"/>
              </a:rPr>
              <a:t> </a:t>
            </a:r>
            <a:r>
              <a:rPr lang="en-US" sz="3600" dirty="0"/>
              <a:t>         </a:t>
            </a:r>
          </a:p>
          <a:p>
            <a:pPr lvl="3">
              <a:buBlip>
                <a:blip r:embed="rId4"/>
              </a:buBlip>
            </a:pPr>
            <a:r>
              <a:rPr lang="en-US" sz="4300" b="1" dirty="0"/>
              <a:t>Admin Login</a:t>
            </a:r>
          </a:p>
          <a:p>
            <a:pPr lvl="3">
              <a:buBlip>
                <a:blip r:embed="rId4"/>
              </a:buBlip>
            </a:pPr>
            <a:r>
              <a:rPr lang="en-US" sz="4300" b="1" dirty="0"/>
              <a:t>Add </a:t>
            </a:r>
            <a:r>
              <a:rPr lang="en-US" sz="4300" b="1" dirty="0" smtClean="0"/>
              <a:t>Hotel</a:t>
            </a:r>
          </a:p>
          <a:p>
            <a:pPr lvl="3">
              <a:buBlip>
                <a:blip r:embed="rId4"/>
              </a:buBlip>
            </a:pPr>
            <a:r>
              <a:rPr lang="en-US" sz="4300" b="1" dirty="0" smtClean="0"/>
              <a:t>Add Hotel with Flight</a:t>
            </a:r>
          </a:p>
          <a:p>
            <a:pPr lvl="3">
              <a:buBlip>
                <a:blip r:embed="rId4"/>
              </a:buBlip>
            </a:pPr>
            <a:r>
              <a:rPr lang="en-US" sz="4300" b="1" dirty="0" smtClean="0"/>
              <a:t>Add Hotel with Cab</a:t>
            </a:r>
            <a:endParaRPr lang="en-US" sz="4300" b="1" dirty="0"/>
          </a:p>
          <a:p>
            <a:pPr lvl="3">
              <a:buBlip>
                <a:blip r:embed="rId4"/>
              </a:buBlip>
            </a:pPr>
            <a:r>
              <a:rPr lang="en-US" sz="4300" b="1" dirty="0"/>
              <a:t>Update Hotel</a:t>
            </a:r>
          </a:p>
          <a:p>
            <a:pPr lvl="3">
              <a:buBlip>
                <a:blip r:embed="rId4"/>
              </a:buBlip>
            </a:pPr>
            <a:r>
              <a:rPr lang="en-US" sz="4300" b="1" dirty="0"/>
              <a:t>Delete Room                                                   </a:t>
            </a:r>
          </a:p>
          <a:p>
            <a:pPr marL="0" indent="0"/>
            <a:endParaRPr lang="en-US" sz="2700" dirty="0"/>
          </a:p>
          <a:p>
            <a:pPr>
              <a:buFont typeface="Wingdings" pitchFamily="2" charset="2"/>
              <a:buChar char="Ø"/>
            </a:pPr>
            <a:r>
              <a:rPr lang="en-US" sz="6000" dirty="0">
                <a:hlinkClick r:id="rId5" action="ppaction://hlinkfile"/>
              </a:rPr>
              <a:t>Employee</a:t>
            </a:r>
            <a:endParaRPr lang="en-US" sz="6000" dirty="0"/>
          </a:p>
          <a:p>
            <a:pPr lvl="3">
              <a:buBlip>
                <a:blip r:embed="rId4"/>
              </a:buBlip>
            </a:pPr>
            <a:r>
              <a:rPr lang="en-US" sz="4300" b="1" dirty="0"/>
              <a:t>Employee Login</a:t>
            </a:r>
          </a:p>
          <a:p>
            <a:pPr lvl="3">
              <a:buBlip>
                <a:blip r:embed="rId4"/>
              </a:buBlip>
            </a:pPr>
            <a:r>
              <a:rPr lang="en-US" sz="4300" b="1" dirty="0"/>
              <a:t>Search Hotel</a:t>
            </a:r>
          </a:p>
          <a:p>
            <a:pPr lvl="3">
              <a:buBlip>
                <a:blip r:embed="rId4"/>
              </a:buBlip>
            </a:pPr>
            <a:r>
              <a:rPr lang="en-US" sz="4300" b="1" dirty="0"/>
              <a:t>Book Rooms                                                    </a:t>
            </a:r>
          </a:p>
          <a:p>
            <a:pPr marL="0" indent="0"/>
            <a:endParaRPr lang="en-US" sz="2700" dirty="0"/>
          </a:p>
          <a:p>
            <a:pPr>
              <a:buFont typeface="Wingdings" pitchFamily="2" charset="2"/>
              <a:buChar char="Ø"/>
            </a:pPr>
            <a:r>
              <a:rPr lang="en-US" sz="6000" dirty="0">
                <a:hlinkClick r:id="rId6" action="ppaction://hlinkfile"/>
              </a:rPr>
              <a:t>Customer</a:t>
            </a:r>
            <a:endParaRPr lang="en-US" sz="6000" dirty="0"/>
          </a:p>
          <a:p>
            <a:pPr lvl="3">
              <a:buBlip>
                <a:blip r:embed="rId4"/>
              </a:buBlip>
            </a:pPr>
            <a:r>
              <a:rPr lang="en-US" sz="4300" b="1" dirty="0"/>
              <a:t>Customer Login</a:t>
            </a:r>
          </a:p>
          <a:p>
            <a:pPr lvl="3">
              <a:buBlip>
                <a:blip r:embed="rId4"/>
              </a:buBlip>
            </a:pPr>
            <a:r>
              <a:rPr lang="en-US" sz="4300" b="1" dirty="0"/>
              <a:t>Search Hotel</a:t>
            </a:r>
          </a:p>
          <a:p>
            <a:pPr lvl="3">
              <a:buBlip>
                <a:blip r:embed="rId4"/>
              </a:buBlip>
            </a:pPr>
            <a:r>
              <a:rPr lang="en-US" sz="4300" b="1" dirty="0"/>
              <a:t>Book Rooms                                                    </a:t>
            </a:r>
          </a:p>
        </p:txBody>
      </p:sp>
      <p:pic>
        <p:nvPicPr>
          <p:cNvPr id="4" name="Picture 2" descr="C:\Users\bsallapu\Downloads\capgemini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2234" y="6192078"/>
            <a:ext cx="2301766" cy="665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3526" y="1551319"/>
            <a:ext cx="909010" cy="11176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39113" y="4648200"/>
            <a:ext cx="1435246" cy="102268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6269" y="2906269"/>
            <a:ext cx="1306848" cy="1335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5510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dirty="0" smtClean="0">
                <a:latin typeface="Cambria" panose="02040503050406030204" pitchFamily="18" charset="0"/>
              </a:rPr>
              <a:t>     Use Case </a:t>
            </a:r>
            <a:endParaRPr lang="en-US" sz="3200" dirty="0">
              <a:latin typeface="Cambria" panose="020405030504060302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3657600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  <a:buFont typeface="Wingdings" pitchFamily="2" charset="2"/>
              <a:buChar char="q"/>
            </a:pPr>
            <a:r>
              <a:rPr lang="en-US" sz="20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e Use Case is a list of actions or event steps , typically defining the interactions between a role termed as Actor and  a System ,to Achieve a goal.</a:t>
            </a:r>
          </a:p>
          <a:p>
            <a:pPr>
              <a:lnSpc>
                <a:spcPct val="150000"/>
              </a:lnSpc>
              <a:buFont typeface="Wingdings" pitchFamily="2" charset="2"/>
              <a:buChar char="q"/>
            </a:pPr>
            <a:r>
              <a:rPr lang="en-US" sz="20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e Actor can be a user or any System.</a:t>
            </a:r>
          </a:p>
          <a:p>
            <a:pPr>
              <a:lnSpc>
                <a:spcPct val="150000"/>
              </a:lnSpc>
              <a:buFont typeface="Wingdings" pitchFamily="2" charset="2"/>
              <a:buChar char="q"/>
            </a:pPr>
            <a:r>
              <a:rPr lang="en-US" sz="20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 use case diagram at its simplest representation between the user and different use cases in which user is involved </a:t>
            </a:r>
          </a:p>
          <a:p>
            <a:pPr>
              <a:lnSpc>
                <a:spcPct val="150000"/>
              </a:lnSpc>
              <a:buFont typeface="Wingdings" pitchFamily="2" charset="2"/>
              <a:buChar char="q"/>
            </a:pPr>
            <a:r>
              <a:rPr lang="en-US" sz="20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 use case diagram can identify the different types of users of a system and the different types of use cases and will be accompanied by other types of diagrams as well  </a:t>
            </a:r>
            <a:endParaRPr lang="en-US" sz="2000" b="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8339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 dir="in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482" y="228600"/>
            <a:ext cx="7520940" cy="548640"/>
          </a:xfrm>
        </p:spPr>
        <p:txBody>
          <a:bodyPr anchor="ctr"/>
          <a:lstStyle/>
          <a:p>
            <a:r>
              <a:rPr lang="en-US" dirty="0" smtClean="0">
                <a:solidFill>
                  <a:schemeClr val="tx1"/>
                </a:solidFill>
                <a:latin typeface="Cambria" panose="02040503050406030204" pitchFamily="18" charset="0"/>
              </a:rPr>
              <a:t>USE</a:t>
            </a:r>
            <a:r>
              <a:rPr lang="en-US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</a:rPr>
              <a:t> </a:t>
            </a:r>
            <a:r>
              <a:rPr lang="en-US" dirty="0" smtClean="0">
                <a:solidFill>
                  <a:schemeClr val="tx1"/>
                </a:solidFill>
                <a:latin typeface="Cambria" panose="02040503050406030204" pitchFamily="18" charset="0"/>
              </a:rPr>
              <a:t>CASES</a:t>
            </a:r>
            <a:endParaRPr lang="en-US" dirty="0">
              <a:solidFill>
                <a:schemeClr val="tx1"/>
              </a:solidFill>
              <a:latin typeface="Cambria" panose="020405030504060302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7828" y="885370"/>
            <a:ext cx="8229600" cy="5306707"/>
          </a:xfrm>
        </p:spPr>
        <p:txBody>
          <a:bodyPr>
            <a:normAutofit fontScale="47500" lnSpcReduction="20000"/>
          </a:bodyPr>
          <a:lstStyle/>
          <a:p>
            <a:pPr>
              <a:buFont typeface="Wingdings" pitchFamily="2" charset="2"/>
              <a:buChar char="Ø"/>
            </a:pPr>
            <a:r>
              <a:rPr lang="en-US" sz="6000" b="1" dirty="0">
                <a:solidFill>
                  <a:schemeClr val="tx1"/>
                </a:solidFill>
                <a:hlinkClick r:id="rId2" action="ppaction://hlinkfile"/>
              </a:rPr>
              <a:t>Admin</a:t>
            </a:r>
            <a:r>
              <a:rPr lang="en-US" sz="6000" b="1" dirty="0" smtClean="0">
                <a:solidFill>
                  <a:schemeClr val="tx1"/>
                </a:solidFill>
                <a:hlinkClick r:id="rId2" action="ppaction://hlinkfile"/>
              </a:rPr>
              <a:t> </a:t>
            </a:r>
            <a:r>
              <a:rPr lang="en-US" sz="6000" b="1" dirty="0" smtClean="0">
                <a:solidFill>
                  <a:schemeClr val="tx1"/>
                </a:solidFill>
                <a:hlinkClick r:id="rId3" action="ppaction://hlinkfile"/>
              </a:rPr>
              <a:t> </a:t>
            </a:r>
            <a:r>
              <a:rPr lang="en-US" sz="6000" b="1" dirty="0" smtClean="0">
                <a:solidFill>
                  <a:schemeClr val="tx1"/>
                </a:solidFill>
              </a:rPr>
              <a:t>  </a:t>
            </a:r>
            <a:r>
              <a:rPr lang="en-US" sz="6000" b="1" dirty="0" smtClean="0"/>
              <a:t>      </a:t>
            </a:r>
            <a:r>
              <a:rPr lang="en-US" sz="3600" b="1" dirty="0" smtClean="0"/>
              <a:t>    </a:t>
            </a:r>
            <a:endParaRPr lang="en-US" sz="3600" b="1" dirty="0"/>
          </a:p>
          <a:p>
            <a:pPr lvl="3">
              <a:buBlip>
                <a:blip r:embed="rId4"/>
              </a:buBlip>
            </a:pPr>
            <a:r>
              <a:rPr lang="en-US" sz="3500" b="1" dirty="0" smtClean="0"/>
              <a:t>Admin </a:t>
            </a:r>
            <a:r>
              <a:rPr lang="en-US" sz="3500" b="1" dirty="0"/>
              <a:t>Login</a:t>
            </a:r>
          </a:p>
          <a:p>
            <a:pPr lvl="3">
              <a:buBlip>
                <a:blip r:embed="rId4"/>
              </a:buBlip>
            </a:pPr>
            <a:r>
              <a:rPr lang="en-US" sz="3500" b="1" dirty="0" smtClean="0"/>
              <a:t>Add Hotel</a:t>
            </a:r>
          </a:p>
          <a:p>
            <a:pPr lvl="3">
              <a:buBlip>
                <a:blip r:embed="rId4"/>
              </a:buBlip>
            </a:pPr>
            <a:r>
              <a:rPr lang="en-US" sz="3500" b="1" dirty="0" smtClean="0"/>
              <a:t>Add Hotel with Flight</a:t>
            </a:r>
          </a:p>
          <a:p>
            <a:pPr lvl="3">
              <a:buBlip>
                <a:blip r:embed="rId4"/>
              </a:buBlip>
            </a:pPr>
            <a:r>
              <a:rPr lang="en-US" sz="3500" b="1" dirty="0" smtClean="0"/>
              <a:t>Add Hotel with Cab</a:t>
            </a:r>
            <a:endParaRPr lang="en-US" sz="3500" b="1" dirty="0"/>
          </a:p>
          <a:p>
            <a:pPr lvl="3">
              <a:buBlip>
                <a:blip r:embed="rId4"/>
              </a:buBlip>
            </a:pPr>
            <a:r>
              <a:rPr lang="en-US" sz="3500" b="1" dirty="0" smtClean="0"/>
              <a:t>Add </a:t>
            </a:r>
            <a:r>
              <a:rPr lang="en-US" sz="3500" b="1" dirty="0"/>
              <a:t>Room</a:t>
            </a:r>
          </a:p>
          <a:p>
            <a:pPr lvl="3">
              <a:buBlip>
                <a:blip r:embed="rId4"/>
              </a:buBlip>
            </a:pPr>
            <a:r>
              <a:rPr lang="en-US" sz="3500" b="1" dirty="0" smtClean="0"/>
              <a:t>Update </a:t>
            </a:r>
            <a:r>
              <a:rPr lang="en-US" sz="3500" b="1" dirty="0"/>
              <a:t>Hotel</a:t>
            </a:r>
          </a:p>
          <a:p>
            <a:pPr lvl="3">
              <a:buBlip>
                <a:blip r:embed="rId4"/>
              </a:buBlip>
            </a:pPr>
            <a:r>
              <a:rPr lang="en-US" sz="3500" b="1" dirty="0" smtClean="0"/>
              <a:t>Delete </a:t>
            </a:r>
            <a:r>
              <a:rPr lang="en-US" sz="3500" b="1" dirty="0"/>
              <a:t>Hotel                                                   </a:t>
            </a:r>
          </a:p>
          <a:p>
            <a:pPr marL="0" indent="0">
              <a:buNone/>
            </a:pPr>
            <a:endParaRPr lang="en-US" sz="3500" b="1" dirty="0"/>
          </a:p>
          <a:p>
            <a:pPr>
              <a:buFont typeface="Wingdings" pitchFamily="2" charset="2"/>
              <a:buChar char="Ø"/>
            </a:pPr>
            <a:r>
              <a:rPr lang="en-US" sz="6000" b="1" dirty="0">
                <a:solidFill>
                  <a:schemeClr val="tx1"/>
                </a:solidFill>
                <a:hlinkClick r:id="rId5" action="ppaction://hlinkfile"/>
              </a:rPr>
              <a:t>Employee</a:t>
            </a:r>
            <a:endParaRPr lang="en-US" sz="6000" b="1" dirty="0">
              <a:solidFill>
                <a:schemeClr val="tx1"/>
              </a:solidFill>
            </a:endParaRPr>
          </a:p>
          <a:p>
            <a:pPr lvl="3">
              <a:buBlip>
                <a:blip r:embed="rId4"/>
              </a:buBlip>
            </a:pPr>
            <a:r>
              <a:rPr lang="en-US" sz="3500" b="1" dirty="0" smtClean="0"/>
              <a:t>Employee </a:t>
            </a:r>
            <a:r>
              <a:rPr lang="en-US" sz="3500" b="1" dirty="0"/>
              <a:t>Login</a:t>
            </a:r>
          </a:p>
          <a:p>
            <a:pPr lvl="3">
              <a:buBlip>
                <a:blip r:embed="rId4"/>
              </a:buBlip>
            </a:pPr>
            <a:r>
              <a:rPr lang="en-US" sz="3500" b="1" dirty="0" smtClean="0"/>
              <a:t>Search </a:t>
            </a:r>
            <a:r>
              <a:rPr lang="en-US" sz="3500" b="1" dirty="0"/>
              <a:t>Hotel</a:t>
            </a:r>
          </a:p>
          <a:p>
            <a:pPr lvl="3">
              <a:buBlip>
                <a:blip r:embed="rId4"/>
              </a:buBlip>
            </a:pPr>
            <a:r>
              <a:rPr lang="en-US" sz="3500" b="1" dirty="0" smtClean="0"/>
              <a:t>Book </a:t>
            </a:r>
            <a:r>
              <a:rPr lang="en-US" sz="3500" b="1" dirty="0"/>
              <a:t>Rooms                                                    </a:t>
            </a:r>
          </a:p>
          <a:p>
            <a:pPr marL="0" indent="0">
              <a:buNone/>
            </a:pPr>
            <a:endParaRPr lang="en-US" sz="2700" b="1" dirty="0"/>
          </a:p>
          <a:p>
            <a:pPr>
              <a:buFont typeface="Wingdings" pitchFamily="2" charset="2"/>
              <a:buChar char="Ø"/>
            </a:pPr>
            <a:r>
              <a:rPr lang="en-US" sz="6000" b="1" dirty="0">
                <a:solidFill>
                  <a:schemeClr val="tx1"/>
                </a:solidFill>
                <a:hlinkClick r:id="rId6" action="ppaction://hlinkfile"/>
              </a:rPr>
              <a:t>Customer</a:t>
            </a:r>
            <a:endParaRPr lang="en-US" sz="6000" b="1" dirty="0">
              <a:solidFill>
                <a:schemeClr val="tx1"/>
              </a:solidFill>
            </a:endParaRPr>
          </a:p>
          <a:p>
            <a:pPr lvl="3">
              <a:buBlip>
                <a:blip r:embed="rId4"/>
              </a:buBlip>
            </a:pPr>
            <a:r>
              <a:rPr lang="en-US" sz="3500" b="1" dirty="0" smtClean="0"/>
              <a:t>Customer </a:t>
            </a:r>
            <a:r>
              <a:rPr lang="en-US" sz="3500" b="1" dirty="0"/>
              <a:t>Login</a:t>
            </a:r>
          </a:p>
          <a:p>
            <a:pPr lvl="3">
              <a:buBlip>
                <a:blip r:embed="rId4"/>
              </a:buBlip>
            </a:pPr>
            <a:r>
              <a:rPr lang="en-US" sz="3500" b="1" dirty="0" smtClean="0"/>
              <a:t>Search </a:t>
            </a:r>
            <a:r>
              <a:rPr lang="en-US" sz="3500" b="1" dirty="0"/>
              <a:t>Hotel</a:t>
            </a:r>
          </a:p>
          <a:p>
            <a:pPr lvl="3">
              <a:buBlip>
                <a:blip r:embed="rId4"/>
              </a:buBlip>
            </a:pPr>
            <a:r>
              <a:rPr lang="en-US" sz="3500" b="1" dirty="0" smtClean="0"/>
              <a:t>Book </a:t>
            </a:r>
            <a:r>
              <a:rPr lang="en-US" sz="3500" b="1" dirty="0"/>
              <a:t>Rooms                                                    </a:t>
            </a:r>
          </a:p>
        </p:txBody>
      </p:sp>
      <p:pic>
        <p:nvPicPr>
          <p:cNvPr id="4" name="Picture 2" descr="C:\Users\bsallapu\Downloads\capgemini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2234" y="6192078"/>
            <a:ext cx="2301766" cy="665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1952" y="1524000"/>
            <a:ext cx="909010" cy="11176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1952" y="5005797"/>
            <a:ext cx="1435246" cy="102268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53949" y="2998478"/>
            <a:ext cx="1306848" cy="1335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4635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Content="1"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dirty="0" smtClean="0">
                <a:latin typeface="Cambria" panose="02040503050406030204" pitchFamily="18" charset="0"/>
              </a:rPr>
              <a:t>   Defect </a:t>
            </a:r>
            <a:r>
              <a:rPr lang="en-US" sz="3600" dirty="0">
                <a:latin typeface="Cambria" panose="02040503050406030204" pitchFamily="18" charset="0"/>
              </a:rPr>
              <a:t>R</a:t>
            </a:r>
            <a:r>
              <a:rPr lang="en-US" sz="3600" dirty="0" smtClean="0">
                <a:latin typeface="Cambria" panose="02040503050406030204" pitchFamily="18" charset="0"/>
              </a:rPr>
              <a:t>eport</a:t>
            </a:r>
            <a:endParaRPr lang="en-US" sz="3600" dirty="0">
              <a:latin typeface="Cambria" panose="02040503050406030204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33400" y="1295400"/>
            <a:ext cx="78486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Cambria" panose="02040503050406030204" pitchFamily="18" charset="0"/>
              </a:rPr>
              <a:t>The </a:t>
            </a:r>
            <a:r>
              <a:rPr lang="en-US" sz="2400" b="1" dirty="0">
                <a:latin typeface="Cambria" panose="02040503050406030204" pitchFamily="18" charset="0"/>
              </a:rPr>
              <a:t>defect report</a:t>
            </a:r>
            <a:r>
              <a:rPr lang="en-US" sz="2400" dirty="0">
                <a:latin typeface="Cambria" panose="02040503050406030204" pitchFamily="18" charset="0"/>
              </a:rPr>
              <a:t> is the most effective manner of communicating, tracking, and explaining defects to managers and development staff.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33400" y="2819400"/>
            <a:ext cx="784860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Cambria" panose="02040503050406030204" pitchFamily="18" charset="0"/>
              </a:rPr>
              <a:t>The more logical, organized, and detailed the report, the more likely a developer can reproduce it without assistance or without having to request more information</a:t>
            </a:r>
            <a:r>
              <a:rPr lang="en-US" sz="2400" dirty="0" smtClean="0">
                <a:latin typeface="Cambria" panose="02040503050406030204" pitchFamily="18" charset="0"/>
              </a:rPr>
              <a:t>.</a:t>
            </a:r>
          </a:p>
          <a:p>
            <a:endParaRPr lang="en-US" sz="2400" dirty="0">
              <a:latin typeface="Cambria" panose="02040503050406030204" pitchFamily="18" charset="0"/>
            </a:endParaRPr>
          </a:p>
          <a:p>
            <a:r>
              <a:rPr lang="en-US" sz="2400" dirty="0" smtClean="0">
                <a:latin typeface="Cambria" panose="02040503050406030204" pitchFamily="18" charset="0"/>
              </a:rPr>
              <a:t>Defect - A problem which, If not corrected could cause an application to either fail or to produce incorrect results.</a:t>
            </a:r>
          </a:p>
        </p:txBody>
      </p:sp>
    </p:spTree>
    <p:extLst>
      <p:ext uri="{BB962C8B-B14F-4D97-AF65-F5344CB8AC3E}">
        <p14:creationId xmlns:p14="http://schemas.microsoft.com/office/powerpoint/2010/main" val="1797841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400">
        <p14:doors dir="ver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91938" y="228600"/>
            <a:ext cx="7520940" cy="548640"/>
          </a:xfrm>
        </p:spPr>
        <p:txBody>
          <a:bodyPr anchor="ctr">
            <a:normAutofit/>
          </a:bodyPr>
          <a:lstStyle/>
          <a:p>
            <a:r>
              <a:rPr lang="en-US" dirty="0" smtClean="0">
                <a:solidFill>
                  <a:schemeClr val="tx1"/>
                </a:solidFill>
                <a:latin typeface="Candara Bold" pitchFamily="34" charset="0"/>
              </a:rPr>
              <a:t> </a:t>
            </a:r>
            <a:r>
              <a:rPr lang="en-US" dirty="0" smtClean="0">
                <a:solidFill>
                  <a:schemeClr val="tx1"/>
                </a:solidFill>
                <a:latin typeface="Cambria" panose="02040503050406030204" pitchFamily="18" charset="0"/>
              </a:rPr>
              <a:t>DEFECT</a:t>
            </a:r>
            <a:r>
              <a:rPr lang="en-US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</a:rPr>
              <a:t> </a:t>
            </a:r>
            <a:r>
              <a:rPr lang="en-US" dirty="0" smtClean="0">
                <a:solidFill>
                  <a:schemeClr val="tx1"/>
                </a:solidFill>
                <a:latin typeface="Cambria" panose="02040503050406030204" pitchFamily="18" charset="0"/>
              </a:rPr>
              <a:t>FREE</a:t>
            </a:r>
            <a:r>
              <a:rPr lang="en-US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</a:rPr>
              <a:t> </a:t>
            </a:r>
            <a:r>
              <a:rPr lang="en-US" dirty="0" smtClean="0">
                <a:solidFill>
                  <a:schemeClr val="tx1"/>
                </a:solidFill>
                <a:latin typeface="Cambria" panose="02040503050406030204" pitchFamily="18" charset="0"/>
              </a:rPr>
              <a:t>DEFECT</a:t>
            </a:r>
            <a:r>
              <a:rPr lang="en-US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</a:rPr>
              <a:t> </a:t>
            </a:r>
            <a:r>
              <a:rPr lang="en-US" dirty="0" smtClean="0">
                <a:solidFill>
                  <a:schemeClr val="tx1"/>
                </a:solidFill>
                <a:latin typeface="Cambria" panose="02040503050406030204" pitchFamily="18" charset="0"/>
              </a:rPr>
              <a:t>REPORT </a:t>
            </a:r>
            <a:endParaRPr lang="en-US" dirty="0">
              <a:solidFill>
                <a:schemeClr val="tx1"/>
              </a:solidFill>
              <a:latin typeface="Cambria" panose="02040503050406030204" pitchFamily="18" charset="0"/>
            </a:endParaRPr>
          </a:p>
        </p:txBody>
      </p:sp>
      <p:pic>
        <p:nvPicPr>
          <p:cNvPr id="4" name="Picture 2" descr="C:\Users\bsallapu\Downloads\capgemini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2234" y="6192078"/>
            <a:ext cx="2301766" cy="665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45070" y="1524000"/>
            <a:ext cx="909010" cy="11176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2408" y="4724400"/>
            <a:ext cx="1435246" cy="102268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1171" y="3026805"/>
            <a:ext cx="1306848" cy="1335313"/>
          </a:xfrm>
          <a:prstGeom prst="rect">
            <a:avLst/>
          </a:prstGeom>
        </p:spPr>
      </p:pic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1083693" y="1066800"/>
            <a:ext cx="7522754" cy="5029200"/>
          </a:xfrm>
        </p:spPr>
        <p:txBody>
          <a:bodyPr>
            <a:normAutofit fontScale="32500" lnSpcReduction="20000"/>
          </a:bodyPr>
          <a:lstStyle/>
          <a:p>
            <a:pPr>
              <a:lnSpc>
                <a:spcPct val="120000"/>
              </a:lnSpc>
              <a:buFont typeface="Wingdings" pitchFamily="2" charset="2"/>
              <a:buChar char="Ø"/>
            </a:pPr>
            <a:r>
              <a:rPr lang="en-US" sz="6000" dirty="0">
                <a:solidFill>
                  <a:schemeClr val="tx1"/>
                </a:solidFill>
              </a:rPr>
              <a:t>Admin    </a:t>
            </a:r>
            <a:r>
              <a:rPr lang="en-US" sz="3600" dirty="0">
                <a:solidFill>
                  <a:schemeClr val="tx1"/>
                </a:solidFill>
              </a:rPr>
              <a:t> </a:t>
            </a:r>
            <a:r>
              <a:rPr lang="en-US" sz="3600" dirty="0"/>
              <a:t>         </a:t>
            </a:r>
          </a:p>
          <a:p>
            <a:pPr lvl="3">
              <a:lnSpc>
                <a:spcPct val="120000"/>
              </a:lnSpc>
              <a:buBlip>
                <a:blip r:embed="rId6"/>
              </a:buBlip>
            </a:pPr>
            <a:r>
              <a:rPr lang="en-US" sz="4300" b="1" dirty="0"/>
              <a:t>Admin Login</a:t>
            </a:r>
          </a:p>
          <a:p>
            <a:pPr lvl="3">
              <a:lnSpc>
                <a:spcPct val="120000"/>
              </a:lnSpc>
              <a:buBlip>
                <a:blip r:embed="rId6"/>
              </a:buBlip>
            </a:pPr>
            <a:r>
              <a:rPr lang="en-US" sz="4300" b="1" dirty="0"/>
              <a:t>Add </a:t>
            </a:r>
            <a:r>
              <a:rPr lang="en-US" sz="4300" b="1" dirty="0" smtClean="0"/>
              <a:t>Hotel</a:t>
            </a:r>
          </a:p>
          <a:p>
            <a:pPr lvl="3">
              <a:lnSpc>
                <a:spcPct val="120000"/>
              </a:lnSpc>
              <a:buBlip>
                <a:blip r:embed="rId6"/>
              </a:buBlip>
            </a:pPr>
            <a:r>
              <a:rPr lang="en-US" sz="4300" b="1" dirty="0" smtClean="0"/>
              <a:t>Add Hotel with Flight</a:t>
            </a:r>
          </a:p>
          <a:p>
            <a:pPr lvl="3">
              <a:lnSpc>
                <a:spcPct val="120000"/>
              </a:lnSpc>
              <a:buBlip>
                <a:blip r:embed="rId6"/>
              </a:buBlip>
            </a:pPr>
            <a:r>
              <a:rPr lang="en-US" sz="4300" b="1" dirty="0" smtClean="0"/>
              <a:t>Add Hotel with Cab</a:t>
            </a:r>
            <a:endParaRPr lang="en-US" sz="4300" b="1" dirty="0"/>
          </a:p>
          <a:p>
            <a:pPr lvl="3">
              <a:lnSpc>
                <a:spcPct val="120000"/>
              </a:lnSpc>
              <a:buBlip>
                <a:blip r:embed="rId6"/>
              </a:buBlip>
            </a:pPr>
            <a:r>
              <a:rPr lang="en-US" sz="4300" b="1" dirty="0"/>
              <a:t>Update Hotel</a:t>
            </a:r>
          </a:p>
          <a:p>
            <a:pPr lvl="3">
              <a:lnSpc>
                <a:spcPct val="120000"/>
              </a:lnSpc>
              <a:buBlip>
                <a:blip r:embed="rId6"/>
              </a:buBlip>
            </a:pPr>
            <a:r>
              <a:rPr lang="en-US" sz="4300" b="1" dirty="0"/>
              <a:t>Delete Room                                                   </a:t>
            </a:r>
          </a:p>
          <a:p>
            <a:pPr marL="0" indent="0">
              <a:lnSpc>
                <a:spcPct val="120000"/>
              </a:lnSpc>
            </a:pPr>
            <a:endParaRPr lang="en-US" sz="2700" dirty="0"/>
          </a:p>
          <a:p>
            <a:pPr>
              <a:lnSpc>
                <a:spcPct val="120000"/>
              </a:lnSpc>
              <a:buFont typeface="Wingdings" pitchFamily="2" charset="2"/>
              <a:buChar char="Ø"/>
            </a:pPr>
            <a:r>
              <a:rPr lang="en-US" sz="6000" dirty="0">
                <a:solidFill>
                  <a:schemeClr val="tx1"/>
                </a:solidFill>
              </a:rPr>
              <a:t>Employee</a:t>
            </a:r>
          </a:p>
          <a:p>
            <a:pPr lvl="3">
              <a:lnSpc>
                <a:spcPct val="120000"/>
              </a:lnSpc>
              <a:buBlip>
                <a:blip r:embed="rId6"/>
              </a:buBlip>
            </a:pPr>
            <a:r>
              <a:rPr lang="en-US" sz="4300" b="1" dirty="0"/>
              <a:t>Employee Login</a:t>
            </a:r>
          </a:p>
          <a:p>
            <a:pPr lvl="3">
              <a:lnSpc>
                <a:spcPct val="120000"/>
              </a:lnSpc>
              <a:buBlip>
                <a:blip r:embed="rId6"/>
              </a:buBlip>
            </a:pPr>
            <a:r>
              <a:rPr lang="en-US" sz="4300" b="1" dirty="0"/>
              <a:t>Search Hotel</a:t>
            </a:r>
          </a:p>
          <a:p>
            <a:pPr lvl="3">
              <a:lnSpc>
                <a:spcPct val="120000"/>
              </a:lnSpc>
              <a:buBlip>
                <a:blip r:embed="rId6"/>
              </a:buBlip>
            </a:pPr>
            <a:r>
              <a:rPr lang="en-US" sz="4300" b="1" dirty="0"/>
              <a:t>Book Rooms                                                    </a:t>
            </a:r>
          </a:p>
          <a:p>
            <a:pPr marL="0" indent="0">
              <a:lnSpc>
                <a:spcPct val="120000"/>
              </a:lnSpc>
            </a:pPr>
            <a:endParaRPr lang="en-US" sz="2700" dirty="0"/>
          </a:p>
          <a:p>
            <a:pPr>
              <a:lnSpc>
                <a:spcPct val="120000"/>
              </a:lnSpc>
              <a:buFont typeface="Wingdings" pitchFamily="2" charset="2"/>
              <a:buChar char="Ø"/>
            </a:pPr>
            <a:r>
              <a:rPr lang="en-US" sz="6000" dirty="0">
                <a:solidFill>
                  <a:schemeClr val="tx1"/>
                </a:solidFill>
              </a:rPr>
              <a:t>Customer</a:t>
            </a:r>
          </a:p>
          <a:p>
            <a:pPr lvl="3">
              <a:lnSpc>
                <a:spcPct val="120000"/>
              </a:lnSpc>
              <a:buBlip>
                <a:blip r:embed="rId6"/>
              </a:buBlip>
            </a:pPr>
            <a:r>
              <a:rPr lang="en-US" sz="4300" b="1" dirty="0"/>
              <a:t>Customer Login</a:t>
            </a:r>
          </a:p>
          <a:p>
            <a:pPr lvl="3">
              <a:lnSpc>
                <a:spcPct val="120000"/>
              </a:lnSpc>
              <a:buBlip>
                <a:blip r:embed="rId6"/>
              </a:buBlip>
            </a:pPr>
            <a:r>
              <a:rPr lang="en-US" sz="4300" b="1" dirty="0"/>
              <a:t>Search Hotel</a:t>
            </a:r>
          </a:p>
          <a:p>
            <a:pPr lvl="3">
              <a:lnSpc>
                <a:spcPct val="120000"/>
              </a:lnSpc>
              <a:buBlip>
                <a:blip r:embed="rId6"/>
              </a:buBlip>
            </a:pPr>
            <a:r>
              <a:rPr lang="en-US" sz="4300" b="1" dirty="0"/>
              <a:t>Book Rooms                                                   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7523987"/>
      </p:ext>
    </p:extLst>
  </p:cSld>
  <p:clrMapOvr>
    <a:masterClrMapping/>
  </p:clrMapOvr>
  <p:transition spd="slow">
    <p:wheel spokes="1"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  <a:latin typeface="Candara Bold" pitchFamily="34" charset="0"/>
              </a:rPr>
              <a:t>          </a:t>
            </a:r>
            <a:r>
              <a:rPr lang="en-US" dirty="0" smtClean="0">
                <a:solidFill>
                  <a:schemeClr val="tx1"/>
                </a:solidFill>
                <a:latin typeface="Cambria" panose="02040503050406030204" pitchFamily="18" charset="0"/>
              </a:rPr>
              <a:t>OBSERVATION</a:t>
            </a:r>
            <a:endParaRPr lang="en-US" dirty="0">
              <a:solidFill>
                <a:schemeClr val="tx1"/>
              </a:solidFill>
              <a:latin typeface="Cambria" panose="020405030504060302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buFont typeface="Wingdings" pitchFamily="2" charset="2"/>
              <a:buChar char="Ø"/>
            </a:pPr>
            <a:r>
              <a:rPr lang="en-US" sz="1800" b="0" dirty="0" smtClean="0">
                <a:solidFill>
                  <a:schemeClr val="tx1"/>
                </a:solidFill>
                <a:latin typeface="Candara Bold" pitchFamily="34" charset="0"/>
              </a:rPr>
              <a:t>About UI:</a:t>
            </a:r>
          </a:p>
          <a:p>
            <a:pPr>
              <a:buBlip>
                <a:blip r:embed="rId2"/>
              </a:buBlip>
            </a:pPr>
            <a:r>
              <a:rPr lang="en-US" sz="1800" b="0" dirty="0" smtClean="0">
                <a:solidFill>
                  <a:schemeClr val="tx1"/>
                </a:solidFill>
              </a:rPr>
              <a:t>The look and feel is good.</a:t>
            </a:r>
          </a:p>
          <a:p>
            <a:pPr>
              <a:buBlip>
                <a:blip r:embed="rId2"/>
              </a:buBlip>
            </a:pPr>
            <a:r>
              <a:rPr lang="en-US" sz="1800" b="0" dirty="0">
                <a:solidFill>
                  <a:schemeClr val="tx1"/>
                </a:solidFill>
              </a:rPr>
              <a:t> The UI is not localized and user-friendly.</a:t>
            </a:r>
          </a:p>
          <a:p>
            <a:pPr marL="0" indent="0">
              <a:buNone/>
            </a:pPr>
            <a:endParaRPr lang="en-US" sz="1800" b="0" dirty="0" smtClean="0"/>
          </a:p>
          <a:p>
            <a:pPr>
              <a:buFont typeface="Wingdings" pitchFamily="2" charset="2"/>
              <a:buChar char="Ø"/>
            </a:pPr>
            <a:r>
              <a:rPr lang="en-US" sz="1800" b="0" dirty="0" smtClean="0">
                <a:solidFill>
                  <a:schemeClr val="tx1"/>
                </a:solidFill>
                <a:latin typeface="Candara Bold" pitchFamily="34" charset="0"/>
              </a:rPr>
              <a:t>Defects:</a:t>
            </a:r>
          </a:p>
          <a:p>
            <a:pPr>
              <a:buBlip>
                <a:blip r:embed="rId2"/>
              </a:buBlip>
            </a:pPr>
            <a:r>
              <a:rPr lang="en-US" sz="1800" b="0" dirty="0">
                <a:solidFill>
                  <a:schemeClr val="tx1"/>
                </a:solidFill>
              </a:rPr>
              <a:t> </a:t>
            </a:r>
            <a:r>
              <a:rPr lang="en-US" sz="1800" b="0" dirty="0" smtClean="0">
                <a:solidFill>
                  <a:schemeClr val="tx1"/>
                </a:solidFill>
              </a:rPr>
              <a:t>The functionalities don’t work as expected.</a:t>
            </a:r>
            <a:endParaRPr lang="en-US" sz="1800" b="0" dirty="0">
              <a:solidFill>
                <a:schemeClr val="tx1"/>
              </a:solidFill>
            </a:endParaRPr>
          </a:p>
          <a:p>
            <a:pPr>
              <a:buBlip>
                <a:blip r:embed="rId2"/>
              </a:buBlip>
            </a:pPr>
            <a:r>
              <a:rPr lang="en-US" sz="1800" b="0" dirty="0">
                <a:solidFill>
                  <a:schemeClr val="tx1"/>
                </a:solidFill>
              </a:rPr>
              <a:t> </a:t>
            </a:r>
            <a:r>
              <a:rPr lang="en-US" sz="1800" b="0" dirty="0" smtClean="0">
                <a:solidFill>
                  <a:schemeClr val="tx1"/>
                </a:solidFill>
              </a:rPr>
              <a:t>Pages are not redirected as expected.</a:t>
            </a:r>
          </a:p>
          <a:p>
            <a:pPr>
              <a:buBlip>
                <a:blip r:embed="rId2"/>
              </a:buBlip>
            </a:pPr>
            <a:r>
              <a:rPr lang="en-US" sz="1800" b="0" dirty="0" smtClean="0">
                <a:solidFill>
                  <a:schemeClr val="tx1"/>
                </a:solidFill>
              </a:rPr>
              <a:t> Error messages are inappropriate. </a:t>
            </a:r>
          </a:p>
          <a:p>
            <a:pPr>
              <a:buFont typeface="Wingdings" pitchFamily="2" charset="2"/>
              <a:buChar char="Ø"/>
            </a:pPr>
            <a:endParaRPr lang="en-US" b="0" dirty="0">
              <a:solidFill>
                <a:schemeClr val="tx1"/>
              </a:solidFill>
            </a:endParaRPr>
          </a:p>
          <a:p>
            <a:pPr>
              <a:buFont typeface="Wingdings" pitchFamily="2" charset="2"/>
              <a:buChar char="Ø"/>
            </a:pPr>
            <a:endParaRPr lang="en-US" b="0" dirty="0" smtClean="0"/>
          </a:p>
          <a:p>
            <a:pPr marL="0" indent="0">
              <a:buNone/>
            </a:pPr>
            <a:endParaRPr lang="en-US" b="0" dirty="0"/>
          </a:p>
        </p:txBody>
      </p:sp>
      <p:pic>
        <p:nvPicPr>
          <p:cNvPr id="4" name="Picture 2" descr="C:\Users\bsallapu\Downloads\capgemini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2234" y="6192078"/>
            <a:ext cx="2301766" cy="665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84489" y="1330031"/>
            <a:ext cx="1908628" cy="29074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9784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600" b="1" dirty="0">
                <a:latin typeface="Cambria" panose="02040503050406030204" pitchFamily="18" charset="0"/>
              </a:rPr>
              <a:t>TEAM MEMBERS</a:t>
            </a:r>
            <a:endParaRPr lang="en-IN" sz="3600" b="1" dirty="0">
              <a:latin typeface="Cambria" panose="02040503050406030204" pitchFamily="18" charset="0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3200" b="0" dirty="0" smtClean="0">
                <a:solidFill>
                  <a:schemeClr val="tx1"/>
                </a:solidFill>
                <a:latin typeface="Arabic Typesetting" panose="03020402040406030203" pitchFamily="66" charset="-78"/>
                <a:cs typeface="Arabic Typesetting" panose="03020402040406030203" pitchFamily="66" charset="-78"/>
              </a:rPr>
              <a:t>Amol Hadkar			</a:t>
            </a:r>
            <a:r>
              <a:rPr lang="en-US" sz="3200" b="0" dirty="0" smtClean="0">
                <a:solidFill>
                  <a:schemeClr val="tx1"/>
                </a:solidFill>
                <a:latin typeface="Arabic Typesetting" panose="03020402040406030203" pitchFamily="66" charset="-78"/>
                <a:cs typeface="Arabic Typesetting" panose="03020402040406030203" pitchFamily="66" charset="-78"/>
              </a:rPr>
              <a:t>093942_FS</a:t>
            </a:r>
            <a:endParaRPr lang="en-US" sz="3200" b="0" dirty="0" smtClean="0">
              <a:solidFill>
                <a:schemeClr val="tx1"/>
              </a:solidFill>
              <a:latin typeface="Arabic Typesetting" panose="03020402040406030203" pitchFamily="66" charset="-78"/>
              <a:cs typeface="Arabic Typesetting" panose="03020402040406030203" pitchFamily="66" charset="-78"/>
            </a:endParaRPr>
          </a:p>
          <a:p>
            <a:r>
              <a:rPr lang="en-US" sz="3200" b="0" dirty="0" smtClean="0">
                <a:solidFill>
                  <a:schemeClr val="tx1"/>
                </a:solidFill>
                <a:latin typeface="Arabic Typesetting" panose="03020402040406030203" pitchFamily="66" charset="-78"/>
                <a:cs typeface="Arabic Typesetting" panose="03020402040406030203" pitchFamily="66" charset="-78"/>
              </a:rPr>
              <a:t>Bhavana C				</a:t>
            </a:r>
            <a:r>
              <a:rPr lang="en-US" sz="3200" b="0" dirty="0" smtClean="0">
                <a:solidFill>
                  <a:schemeClr val="tx1"/>
                </a:solidFill>
                <a:latin typeface="Arabic Typesetting" panose="03020402040406030203" pitchFamily="66" charset="-78"/>
                <a:cs typeface="Arabic Typesetting" panose="03020402040406030203" pitchFamily="66" charset="-78"/>
              </a:rPr>
              <a:t>093938_FS</a:t>
            </a:r>
            <a:endParaRPr lang="en-US" sz="3200" b="0" dirty="0" smtClean="0">
              <a:solidFill>
                <a:schemeClr val="tx1"/>
              </a:solidFill>
              <a:latin typeface="Arabic Typesetting" panose="03020402040406030203" pitchFamily="66" charset="-78"/>
              <a:cs typeface="Arabic Typesetting" panose="03020402040406030203" pitchFamily="66" charset="-78"/>
            </a:endParaRPr>
          </a:p>
          <a:p>
            <a:r>
              <a:rPr lang="en-US" sz="3200" b="0" dirty="0">
                <a:solidFill>
                  <a:schemeClr val="tx1"/>
                </a:solidFill>
                <a:latin typeface="Arabic Typesetting" panose="03020402040406030203" pitchFamily="66" charset="-78"/>
                <a:cs typeface="Arabic Typesetting" panose="03020402040406030203" pitchFamily="66" charset="-78"/>
              </a:rPr>
              <a:t>Gowtham </a:t>
            </a:r>
            <a:r>
              <a:rPr lang="en-US" sz="3200" b="0" dirty="0" smtClean="0">
                <a:solidFill>
                  <a:schemeClr val="tx1"/>
                </a:solidFill>
                <a:latin typeface="Arabic Typesetting" panose="03020402040406030203" pitchFamily="66" charset="-78"/>
                <a:cs typeface="Arabic Typesetting" panose="03020402040406030203" pitchFamily="66" charset="-78"/>
              </a:rPr>
              <a:t>A				</a:t>
            </a:r>
            <a:r>
              <a:rPr lang="en-US" sz="3200" b="0" dirty="0" smtClean="0">
                <a:solidFill>
                  <a:schemeClr val="tx1"/>
                </a:solidFill>
                <a:latin typeface="Arabic Typesetting" panose="03020402040406030203" pitchFamily="66" charset="-78"/>
                <a:cs typeface="Arabic Typesetting" panose="03020402040406030203" pitchFamily="66" charset="-78"/>
              </a:rPr>
              <a:t>093946_FS</a:t>
            </a:r>
            <a:endParaRPr lang="en-US" sz="3200" b="0" dirty="0">
              <a:solidFill>
                <a:schemeClr val="tx1"/>
              </a:solidFill>
              <a:latin typeface="Arabic Typesetting" panose="03020402040406030203" pitchFamily="66" charset="-78"/>
              <a:cs typeface="Arabic Typesetting" panose="03020402040406030203" pitchFamily="66" charset="-78"/>
            </a:endParaRPr>
          </a:p>
          <a:p>
            <a:r>
              <a:rPr lang="en-US" sz="3200" b="0" dirty="0">
                <a:solidFill>
                  <a:schemeClr val="tx1"/>
                </a:solidFill>
                <a:latin typeface="Arabic Typesetting" panose="03020402040406030203" pitchFamily="66" charset="-78"/>
                <a:cs typeface="Arabic Typesetting" panose="03020402040406030203" pitchFamily="66" charset="-78"/>
              </a:rPr>
              <a:t>Hrishikesh R </a:t>
            </a:r>
            <a:r>
              <a:rPr lang="en-US" sz="3200" b="0" dirty="0" smtClean="0">
                <a:solidFill>
                  <a:schemeClr val="tx1"/>
                </a:solidFill>
                <a:latin typeface="Arabic Typesetting" panose="03020402040406030203" pitchFamily="66" charset="-78"/>
                <a:cs typeface="Arabic Typesetting" panose="03020402040406030203" pitchFamily="66" charset="-78"/>
              </a:rPr>
              <a:t>Savanur		</a:t>
            </a:r>
            <a:r>
              <a:rPr lang="en-US" sz="3200" b="0" dirty="0" smtClean="0">
                <a:solidFill>
                  <a:schemeClr val="tx1"/>
                </a:solidFill>
                <a:latin typeface="Arabic Typesetting" panose="03020402040406030203" pitchFamily="66" charset="-78"/>
                <a:cs typeface="Arabic Typesetting" panose="03020402040406030203" pitchFamily="66" charset="-78"/>
              </a:rPr>
              <a:t>093956_FS</a:t>
            </a:r>
            <a:endParaRPr lang="en-US" sz="3200" b="0" dirty="0" smtClean="0">
              <a:solidFill>
                <a:schemeClr val="tx1"/>
              </a:solidFill>
              <a:latin typeface="Arabic Typesetting" panose="03020402040406030203" pitchFamily="66" charset="-78"/>
              <a:cs typeface="Arabic Typesetting" panose="03020402040406030203" pitchFamily="66" charset="-78"/>
            </a:endParaRPr>
          </a:p>
          <a:p>
            <a:r>
              <a:rPr lang="en-US" sz="3200" b="0" dirty="0">
                <a:solidFill>
                  <a:schemeClr val="tx1"/>
                </a:solidFill>
                <a:latin typeface="Arabic Typesetting" panose="03020402040406030203" pitchFamily="66" charset="-78"/>
                <a:cs typeface="Arabic Typesetting" panose="03020402040406030203" pitchFamily="66" charset="-78"/>
              </a:rPr>
              <a:t>Mohammed Asik k </a:t>
            </a:r>
            <a:r>
              <a:rPr lang="en-US" sz="3200" b="0" dirty="0" smtClean="0">
                <a:solidFill>
                  <a:schemeClr val="tx1"/>
                </a:solidFill>
                <a:latin typeface="Arabic Typesetting" panose="03020402040406030203" pitchFamily="66" charset="-78"/>
                <a:cs typeface="Arabic Typesetting" panose="03020402040406030203" pitchFamily="66" charset="-78"/>
              </a:rPr>
              <a:t>			</a:t>
            </a:r>
            <a:r>
              <a:rPr lang="en-US" sz="3200" b="0" dirty="0" smtClean="0">
                <a:solidFill>
                  <a:schemeClr val="tx1"/>
                </a:solidFill>
                <a:latin typeface="Arabic Typesetting" panose="03020402040406030203" pitchFamily="66" charset="-78"/>
                <a:cs typeface="Arabic Typesetting" panose="03020402040406030203" pitchFamily="66" charset="-78"/>
              </a:rPr>
              <a:t>093947_FS</a:t>
            </a:r>
            <a:endParaRPr lang="en-US" sz="3200" b="0" dirty="0" smtClean="0">
              <a:solidFill>
                <a:schemeClr val="tx1"/>
              </a:solidFill>
              <a:latin typeface="Arabic Typesetting" panose="03020402040406030203" pitchFamily="66" charset="-78"/>
              <a:cs typeface="Arabic Typesetting" panose="03020402040406030203" pitchFamily="66" charset="-78"/>
            </a:endParaRPr>
          </a:p>
          <a:p>
            <a:r>
              <a:rPr lang="en-US" sz="3200" b="0" dirty="0" smtClean="0">
                <a:solidFill>
                  <a:schemeClr val="tx1"/>
                </a:solidFill>
                <a:latin typeface="Arabic Typesetting" panose="03020402040406030203" pitchFamily="66" charset="-78"/>
                <a:cs typeface="Arabic Typesetting" panose="03020402040406030203" pitchFamily="66" charset="-78"/>
              </a:rPr>
              <a:t>Monisha </a:t>
            </a:r>
            <a:r>
              <a:rPr lang="en-US" sz="3200" b="0" dirty="0">
                <a:solidFill>
                  <a:schemeClr val="tx1"/>
                </a:solidFill>
                <a:latin typeface="Arabic Typesetting" panose="03020402040406030203" pitchFamily="66" charset="-78"/>
                <a:cs typeface="Arabic Typesetting" panose="03020402040406030203" pitchFamily="66" charset="-78"/>
              </a:rPr>
              <a:t>S </a:t>
            </a:r>
            <a:r>
              <a:rPr lang="en-US" sz="3200" b="0" dirty="0" smtClean="0">
                <a:solidFill>
                  <a:schemeClr val="tx1"/>
                </a:solidFill>
                <a:latin typeface="Arabic Typesetting" panose="03020402040406030203" pitchFamily="66" charset="-78"/>
                <a:cs typeface="Arabic Typesetting" panose="03020402040406030203" pitchFamily="66" charset="-78"/>
              </a:rPr>
              <a:t>M			</a:t>
            </a:r>
            <a:r>
              <a:rPr lang="en-US" sz="3200" b="0" dirty="0" smtClean="0">
                <a:solidFill>
                  <a:schemeClr val="tx1"/>
                </a:solidFill>
                <a:latin typeface="Arabic Typesetting" panose="03020402040406030203" pitchFamily="66" charset="-78"/>
                <a:cs typeface="Arabic Typesetting" panose="03020402040406030203" pitchFamily="66" charset="-78"/>
              </a:rPr>
              <a:t>093952_FS</a:t>
            </a:r>
            <a:endParaRPr lang="en-US" sz="3200" b="0" dirty="0" smtClean="0">
              <a:solidFill>
                <a:schemeClr val="tx1"/>
              </a:solidFill>
              <a:latin typeface="Arabic Typesetting" panose="03020402040406030203" pitchFamily="66" charset="-78"/>
              <a:cs typeface="Arabic Typesetting" panose="03020402040406030203" pitchFamily="66" charset="-78"/>
            </a:endParaRPr>
          </a:p>
          <a:p>
            <a:r>
              <a:rPr lang="en-US" sz="3200" b="0" dirty="0">
                <a:solidFill>
                  <a:schemeClr val="tx1"/>
                </a:solidFill>
                <a:latin typeface="Arabic Typesetting" panose="03020402040406030203" pitchFamily="66" charset="-78"/>
                <a:cs typeface="Arabic Typesetting" panose="03020402040406030203" pitchFamily="66" charset="-78"/>
              </a:rPr>
              <a:t>Ramanujam </a:t>
            </a:r>
            <a:r>
              <a:rPr lang="en-US" sz="3200" b="0" dirty="0" smtClean="0">
                <a:solidFill>
                  <a:schemeClr val="tx1"/>
                </a:solidFill>
                <a:latin typeface="Arabic Typesetting" panose="03020402040406030203" pitchFamily="66" charset="-78"/>
                <a:cs typeface="Arabic Typesetting" panose="03020402040406030203" pitchFamily="66" charset="-78"/>
              </a:rPr>
              <a:t>Sivakumar		</a:t>
            </a:r>
            <a:r>
              <a:rPr lang="en-US" sz="3200" b="0" dirty="0">
                <a:solidFill>
                  <a:schemeClr val="tx1"/>
                </a:solidFill>
                <a:latin typeface="Arabic Typesetting" panose="03020402040406030203" pitchFamily="66" charset="-78"/>
                <a:cs typeface="Arabic Typesetting" panose="03020402040406030203" pitchFamily="66" charset="-78"/>
              </a:rPr>
              <a:t>094002_FS</a:t>
            </a:r>
          </a:p>
          <a:p>
            <a:endParaRPr lang="en-US" sz="3200" b="0" dirty="0">
              <a:solidFill>
                <a:schemeClr val="tx1"/>
              </a:solidFill>
              <a:latin typeface="Arabic Typesetting" panose="03020402040406030203" pitchFamily="66" charset="-78"/>
              <a:cs typeface="Arabic Typesetting" panose="03020402040406030203" pitchFamily="66" charset="-78"/>
            </a:endParaRPr>
          </a:p>
          <a:p>
            <a:pPr marL="0" indent="0">
              <a:buNone/>
            </a:pPr>
            <a:endParaRPr lang="en-US" sz="32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IN" sz="3200" dirty="0" smtClean="0">
              <a:solidFill>
                <a:schemeClr val="tx2">
                  <a:lumMod val="75000"/>
                </a:schemeClr>
              </a:solidFill>
              <a:latin typeface="Agency FB" pitchFamily="34" charset="0"/>
            </a:endParaRPr>
          </a:p>
          <a:p>
            <a:pPr marL="0" indent="0">
              <a:buNone/>
            </a:pPr>
            <a:endParaRPr lang="en-IN" sz="2400" dirty="0" smtClean="0">
              <a:solidFill>
                <a:schemeClr val="tx2">
                  <a:lumMod val="75000"/>
                </a:schemeClr>
              </a:solidFill>
              <a:latin typeface="Agency FB" pitchFamily="34" charset="0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3124200" y="6111875"/>
            <a:ext cx="2895600" cy="365125"/>
          </a:xfr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9129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ndara Bold" pitchFamily="34" charset="0"/>
              </a:rPr>
              <a:t>          </a:t>
            </a:r>
            <a:r>
              <a:rPr lang="en-US" dirty="0" smtClean="0">
                <a:solidFill>
                  <a:schemeClr val="tx1"/>
                </a:solidFill>
                <a:latin typeface="Cambria" panose="02040503050406030204" pitchFamily="18" charset="0"/>
              </a:rPr>
              <a:t>OBSERVATION</a:t>
            </a:r>
            <a:r>
              <a:rPr lang="en-US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</a:rPr>
              <a:t> </a:t>
            </a:r>
            <a:r>
              <a:rPr lang="en-US" sz="240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</a:rPr>
              <a:t>(contd..)</a:t>
            </a:r>
            <a:endParaRPr lang="en-US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mbria" panose="020405030504060302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22960" y="1100628"/>
            <a:ext cx="7696926" cy="4501886"/>
          </a:xfrm>
        </p:spPr>
        <p:txBody>
          <a:bodyPr>
            <a:normAutofit/>
          </a:bodyPr>
          <a:lstStyle/>
          <a:p>
            <a:pPr>
              <a:buFont typeface="Wingdings" pitchFamily="2" charset="2"/>
              <a:buChar char="Ø"/>
            </a:pPr>
            <a:endParaRPr lang="en-US" b="1" dirty="0" smtClean="0"/>
          </a:p>
          <a:p>
            <a:pPr>
              <a:buFont typeface="Wingdings" pitchFamily="2" charset="2"/>
              <a:buChar char="Ø"/>
            </a:pPr>
            <a:r>
              <a:rPr lang="en-US" sz="2100" b="0" dirty="0" smtClean="0">
                <a:solidFill>
                  <a:schemeClr val="tx1"/>
                </a:solidFill>
                <a:latin typeface="Candara Bold" pitchFamily="34" charset="0"/>
              </a:rPr>
              <a:t>Concern:</a:t>
            </a:r>
          </a:p>
          <a:p>
            <a:pPr>
              <a:buBlip>
                <a:blip r:embed="rId2"/>
              </a:buBlip>
            </a:pPr>
            <a:r>
              <a:rPr lang="en-US" sz="2100" b="0" dirty="0">
                <a:solidFill>
                  <a:schemeClr val="tx1"/>
                </a:solidFill>
              </a:rPr>
              <a:t> </a:t>
            </a:r>
            <a:r>
              <a:rPr lang="en-US" sz="2100" b="0" dirty="0" smtClean="0">
                <a:solidFill>
                  <a:schemeClr val="tx1"/>
                </a:solidFill>
              </a:rPr>
              <a:t>Validations need to be prioritized.</a:t>
            </a:r>
          </a:p>
          <a:p>
            <a:pPr>
              <a:buBlip>
                <a:blip r:embed="rId2"/>
              </a:buBlip>
            </a:pPr>
            <a:r>
              <a:rPr lang="en-US" sz="2100" b="0" dirty="0">
                <a:solidFill>
                  <a:schemeClr val="tx1"/>
                </a:solidFill>
              </a:rPr>
              <a:t> </a:t>
            </a:r>
            <a:r>
              <a:rPr lang="en-US" sz="2100" b="0" dirty="0" smtClean="0">
                <a:solidFill>
                  <a:schemeClr val="tx1"/>
                </a:solidFill>
              </a:rPr>
              <a:t>Exception handling need to be taken care of.</a:t>
            </a:r>
          </a:p>
          <a:p>
            <a:pPr>
              <a:buBlip>
                <a:blip r:embed="rId2"/>
              </a:buBlip>
            </a:pPr>
            <a:r>
              <a:rPr lang="en-US" sz="2100" b="0" dirty="0">
                <a:solidFill>
                  <a:schemeClr val="tx1"/>
                </a:solidFill>
              </a:rPr>
              <a:t> </a:t>
            </a:r>
            <a:r>
              <a:rPr lang="en-US" sz="2100" b="0" dirty="0" smtClean="0">
                <a:solidFill>
                  <a:schemeClr val="tx1"/>
                </a:solidFill>
              </a:rPr>
              <a:t>Response time should be less</a:t>
            </a:r>
            <a:r>
              <a:rPr lang="en-US" sz="2100" b="0" dirty="0" smtClean="0"/>
              <a:t>.</a:t>
            </a:r>
          </a:p>
          <a:p>
            <a:pPr marL="0" indent="0">
              <a:buNone/>
            </a:pPr>
            <a:endParaRPr lang="en-US" sz="2100" b="0" dirty="0"/>
          </a:p>
          <a:p>
            <a:pPr marL="0" indent="0">
              <a:buNone/>
            </a:pPr>
            <a:endParaRPr lang="en-US" sz="2100" b="0" dirty="0" smtClean="0"/>
          </a:p>
          <a:p>
            <a:pPr>
              <a:buFont typeface="Wingdings" pitchFamily="2" charset="2"/>
              <a:buChar char="Ø"/>
            </a:pPr>
            <a:r>
              <a:rPr lang="en-US" sz="2100" b="0" dirty="0" smtClean="0">
                <a:solidFill>
                  <a:schemeClr val="tx1"/>
                </a:solidFill>
                <a:latin typeface="Candara Bold" pitchFamily="34" charset="0"/>
              </a:rPr>
              <a:t>Security:</a:t>
            </a:r>
          </a:p>
          <a:p>
            <a:pPr>
              <a:buBlip>
                <a:blip r:embed="rId2"/>
              </a:buBlip>
            </a:pPr>
            <a:r>
              <a:rPr lang="en-US" sz="2100" b="0" dirty="0">
                <a:solidFill>
                  <a:schemeClr val="tx1"/>
                </a:solidFill>
              </a:rPr>
              <a:t> </a:t>
            </a:r>
            <a:r>
              <a:rPr lang="en-US" sz="2100" b="0" dirty="0" smtClean="0">
                <a:solidFill>
                  <a:schemeClr val="tx1"/>
                </a:solidFill>
              </a:rPr>
              <a:t>Password policy should be stringent. </a:t>
            </a:r>
          </a:p>
          <a:p>
            <a:pPr>
              <a:buFont typeface="Wingdings" pitchFamily="2" charset="2"/>
              <a:buChar char="Ø"/>
            </a:pPr>
            <a:endParaRPr lang="en-US" dirty="0">
              <a:solidFill>
                <a:schemeClr val="tx1"/>
              </a:solidFill>
            </a:endParaRPr>
          </a:p>
          <a:p>
            <a:pPr>
              <a:buFont typeface="Wingdings" pitchFamily="2" charset="2"/>
              <a:buChar char="Ø"/>
            </a:pPr>
            <a:endParaRPr lang="en-US" dirty="0" smtClean="0"/>
          </a:p>
          <a:p>
            <a:pPr marL="0" indent="0">
              <a:buNone/>
            </a:pPr>
            <a:r>
              <a:rPr lang="en-US" dirty="0" smtClean="0"/>
              <a:t>`</a:t>
            </a:r>
            <a:endParaRPr lang="en-US" dirty="0"/>
          </a:p>
        </p:txBody>
      </p:sp>
      <p:pic>
        <p:nvPicPr>
          <p:cNvPr id="4" name="Picture 2" descr="C:\Users\bsallapu\Downloads\capgemini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2234" y="6192078"/>
            <a:ext cx="2301766" cy="665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71295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window dir="ver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0"/>
            <a:ext cx="8229600" cy="1020762"/>
          </a:xfrm>
        </p:spPr>
        <p:txBody>
          <a:bodyPr>
            <a:normAutofit/>
          </a:bodyPr>
          <a:lstStyle/>
          <a:p>
            <a:pPr algn="l"/>
            <a:r>
              <a:rPr lang="en-US" sz="3600" dirty="0" smtClean="0">
                <a:latin typeface="Cambria" panose="02040503050406030204" pitchFamily="18" charset="0"/>
                <a:cs typeface="Times New Roman" pitchFamily="18" charset="0"/>
              </a:rPr>
              <a:t>Test Case Adequacy :</a:t>
            </a:r>
            <a:endParaRPr lang="en-US" sz="3600" dirty="0">
              <a:latin typeface="Cambria" panose="02040503050406030204" pitchFamily="18" charset="0"/>
              <a:cs typeface="Times New Roman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sz="3200" u="sng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Test Case Adequacy :</a:t>
            </a:r>
          </a:p>
          <a:p>
            <a:pPr marL="0" indent="0">
              <a:buNone/>
            </a:pPr>
            <a:endParaRPr lang="en-US" sz="32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marL="137160" indent="0">
              <a:buNone/>
            </a:pPr>
            <a:r>
              <a:rPr lang="en-US" sz="2400" b="0" dirty="0">
                <a:solidFill>
                  <a:schemeClr val="tx1"/>
                </a:solidFill>
                <a:latin typeface="Arial Narrow" panose="020B0606020202030204" pitchFamily="34" charset="0"/>
                <a:cs typeface="Arial" pitchFamily="34" charset="0"/>
              </a:rPr>
              <a:t>This metrics defines the number of actual test cases created vs. the estimated test cases at the end of the test case preparation phase</a:t>
            </a:r>
            <a:endParaRPr lang="en-US" sz="2400" b="0" dirty="0">
              <a:solidFill>
                <a:schemeClr val="tx1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pPr lvl="2"/>
            <a:endParaRPr lang="en-US" sz="1800" dirty="0">
              <a:solidFill>
                <a:schemeClr val="tx1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endParaRPr lang="en-US" sz="2400" b="0" dirty="0">
              <a:solidFill>
                <a:schemeClr val="tx1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r>
              <a:rPr lang="en-US" sz="2400" b="0" dirty="0" smtClean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Test case </a:t>
            </a:r>
            <a:r>
              <a:rPr lang="en-US" sz="2400" b="0" dirty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Adequacy = (</a:t>
            </a:r>
            <a:r>
              <a:rPr lang="en-US" sz="2400" b="0" dirty="0" smtClean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No. of </a:t>
            </a:r>
            <a:r>
              <a:rPr lang="en-US" sz="2400" b="0" dirty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actual </a:t>
            </a:r>
            <a:r>
              <a:rPr lang="en-US" sz="2400" b="0" dirty="0" smtClean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test cases*100) / ( No. of </a:t>
            </a:r>
            <a:r>
              <a:rPr lang="en-US" sz="2400" b="0" dirty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			     </a:t>
            </a:r>
            <a:r>
              <a:rPr lang="en-US" sz="2400" b="0" dirty="0" smtClean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test cases </a:t>
            </a:r>
            <a:r>
              <a:rPr lang="en-US" sz="2400" b="0" dirty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estimated)</a:t>
            </a:r>
          </a:p>
          <a:p>
            <a:endParaRPr lang="en-US" sz="2400" b="0" dirty="0">
              <a:solidFill>
                <a:schemeClr val="tx1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endParaRPr lang="en-US" sz="2400" b="0" dirty="0">
              <a:solidFill>
                <a:schemeClr val="tx1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r>
              <a:rPr lang="en-US" sz="2400" b="0" dirty="0" smtClean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Test case </a:t>
            </a:r>
            <a:r>
              <a:rPr lang="en-US" sz="2400" b="0" dirty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Adequacy  = </a:t>
            </a:r>
            <a:r>
              <a:rPr lang="en-US" sz="2400" b="0" dirty="0" smtClean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(245*100</a:t>
            </a:r>
            <a:r>
              <a:rPr lang="en-US" sz="2400" b="0" dirty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)/500</a:t>
            </a:r>
          </a:p>
          <a:p>
            <a:pPr marL="2743200" lvl="6" indent="0">
              <a:buNone/>
            </a:pPr>
            <a:r>
              <a:rPr lang="en-US" sz="2400" dirty="0">
                <a:latin typeface="Arial Narrow" panose="020B0606020202030204" pitchFamily="34" charset="0"/>
                <a:cs typeface="Times New Roman" panose="02020603050405020304" pitchFamily="18" charset="0"/>
              </a:rPr>
              <a:t>   = </a:t>
            </a:r>
            <a:r>
              <a:rPr lang="en-US" sz="2400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49</a:t>
            </a:r>
            <a:endParaRPr lang="en-US" sz="2400" dirty="0"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0552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flip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8600" y="-13855"/>
            <a:ext cx="7772400" cy="1066800"/>
          </a:xfrm>
        </p:spPr>
        <p:txBody>
          <a:bodyPr>
            <a:normAutofit/>
          </a:bodyPr>
          <a:lstStyle/>
          <a:p>
            <a:pPr algn="l"/>
            <a:r>
              <a:rPr lang="en-US" sz="3600" dirty="0" smtClean="0">
                <a:latin typeface="Times New Roman" pitchFamily="18" charset="0"/>
                <a:cs typeface="Times New Roman" pitchFamily="18" charset="0"/>
              </a:rPr>
              <a:t>     </a:t>
            </a:r>
            <a:r>
              <a:rPr lang="en-US" sz="3600" dirty="0" smtClean="0">
                <a:latin typeface="Cambria" panose="02040503050406030204" pitchFamily="18" charset="0"/>
                <a:cs typeface="Times New Roman" pitchFamily="18" charset="0"/>
              </a:rPr>
              <a:t>Test Case Effectiveness:</a:t>
            </a:r>
            <a:endParaRPr lang="en-US" sz="3600" dirty="0">
              <a:latin typeface="Cambria" panose="02040503050406030204" pitchFamily="18" charset="0"/>
              <a:cs typeface="Times New Roman" pitchFamily="18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600" y="1295400"/>
            <a:ext cx="8001000" cy="4953000"/>
          </a:xfrm>
        </p:spPr>
        <p:txBody>
          <a:bodyPr>
            <a:normAutofit fontScale="92500" lnSpcReduction="10000"/>
          </a:bodyPr>
          <a:lstStyle/>
          <a:p>
            <a:pPr algn="l"/>
            <a:r>
              <a:rPr lang="en-US" sz="3500" u="sng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Test Case </a:t>
            </a:r>
            <a:r>
              <a:rPr lang="en-US" sz="3500" u="sng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Effectiveness:</a:t>
            </a:r>
          </a:p>
          <a:p>
            <a:pPr algn="l"/>
            <a:endParaRPr lang="en-US" sz="3500" u="sng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137160"/>
            <a:r>
              <a:rPr lang="en-US" sz="24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is metrics define the effectiveness of the test cases which is measured in terms of the number of defects found in testing with using the test cases.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sz="2400" b="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sz="2400" b="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4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st case effectiveness = No. of Defects found / No. of Test 				cases executed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sz="2400" b="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sz="2400" b="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4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st case effectiveness = </a:t>
            </a:r>
            <a:r>
              <a:rPr lang="en-US" sz="24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7/245</a:t>
            </a:r>
            <a:endParaRPr lang="en-US" sz="2400" b="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l"/>
            <a:r>
              <a:rPr lang="en-US" sz="24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		         = </a:t>
            </a:r>
            <a:r>
              <a:rPr lang="en-US" sz="24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0.02</a:t>
            </a:r>
            <a:endParaRPr lang="en-US" sz="2400" b="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470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100">
        <p14:switch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Cambria" panose="02040503050406030204" pitchFamily="18" charset="0"/>
              </a:rPr>
              <a:t>       </a:t>
            </a:r>
            <a:r>
              <a:rPr lang="en-US" dirty="0" err="1" smtClean="0">
                <a:latin typeface="Cambria" panose="02040503050406030204" pitchFamily="18" charset="0"/>
              </a:rPr>
              <a:t>Traceabililty</a:t>
            </a:r>
            <a:r>
              <a:rPr lang="en-US" dirty="0" smtClean="0">
                <a:latin typeface="Cambria" panose="02040503050406030204" pitchFamily="18" charset="0"/>
              </a:rPr>
              <a:t> Matrix</a:t>
            </a:r>
            <a:endParaRPr lang="en-US" dirty="0">
              <a:latin typeface="Cambria" panose="02040503050406030204" pitchFamily="18" charset="0"/>
            </a:endParaRP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747880879"/>
              </p:ext>
            </p:extLst>
          </p:nvPr>
        </p:nvGraphicFramePr>
        <p:xfrm>
          <a:off x="457200" y="1600200"/>
          <a:ext cx="8229600" cy="3708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43200"/>
                <a:gridCol w="2743200"/>
                <a:gridCol w="2743200"/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Test Case I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 smtClean="0"/>
                        <a:t>Req_i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mtClean="0"/>
                        <a:t>BR</a:t>
                      </a:r>
                      <a:r>
                        <a:rPr lang="en-US" baseline="0" smtClean="0"/>
                        <a:t> Id</a:t>
                      </a:r>
                      <a:endParaRPr lang="en-US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TC_HBMS_037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REQ_2.8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BR_Emp_01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TC_HBMS_047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REQ_3.7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BR_Emp_05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TC_HBMS_05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REQ_3.1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BR_Emp_06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TC_HBMS_3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REQ_3.2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BR_User_01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TC_HBMS_38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REQ_3.2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BR_User_03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TC_HBMS_3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REQ_3.1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BR_User_01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TC_HBMS_14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REQ_4.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BR_AD_01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TC_HBMS_149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REQ_3.5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BR_AD_02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TC_HBMS_207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REQ_2.1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BR_AD_04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02142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  <a:latin typeface="Cambria" panose="02040503050406030204" pitchFamily="18" charset="0"/>
              </a:rPr>
              <a:t>             CONCLUSION</a:t>
            </a:r>
            <a:endParaRPr lang="en-US" dirty="0">
              <a:solidFill>
                <a:schemeClr val="tx1"/>
              </a:solidFill>
              <a:latin typeface="Cambria" panose="020405030504060302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9771" y="886733"/>
            <a:ext cx="8483600" cy="1769382"/>
          </a:xfrm>
        </p:spPr>
        <p:txBody>
          <a:bodyPr/>
          <a:lstStyle/>
          <a:p>
            <a:endParaRPr lang="en-US" dirty="0" smtClean="0"/>
          </a:p>
          <a:p>
            <a:endParaRPr lang="en-US" dirty="0" smtClean="0"/>
          </a:p>
          <a:p>
            <a:pPr>
              <a:buBlip>
                <a:blip r:embed="rId3"/>
              </a:buBlip>
            </a:pPr>
            <a:r>
              <a:rPr lang="en-US" b="0" dirty="0" smtClean="0">
                <a:solidFill>
                  <a:schemeClr val="tx1"/>
                </a:solidFill>
                <a:latin typeface="Cambria" panose="02040503050406030204" pitchFamily="18" charset="0"/>
                <a:cs typeface="Arial" panose="020B0604020202020204" pitchFamily="34" charset="0"/>
              </a:rPr>
              <a:t>We hereby conclude that the application needs to improve its  functionality, validation , security , performance and maintenance issues.</a:t>
            </a:r>
            <a:endParaRPr lang="en-US" b="0" dirty="0">
              <a:solidFill>
                <a:schemeClr val="tx1"/>
              </a:solidFill>
              <a:latin typeface="Cambria" panose="02040503050406030204" pitchFamily="18" charset="0"/>
              <a:cs typeface="Arial" panose="020B0604020202020204" pitchFamily="34" charset="0"/>
            </a:endParaRPr>
          </a:p>
        </p:txBody>
      </p:sp>
      <p:pic>
        <p:nvPicPr>
          <p:cNvPr id="7" name="Picture 2" descr="C:\Users\bsallapu\Downloads\capgemini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2234" y="6192078"/>
            <a:ext cx="2301766" cy="665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4" name="Picture 2" descr="C:\Users\darraj\Desktop\CONCLUSION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7617" y="2872695"/>
            <a:ext cx="4834617" cy="3217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42584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C:\Users\bsallapu\Downloads\capgemini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2234" y="6192078"/>
            <a:ext cx="2301766" cy="665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IGATE Sensitive</a:t>
            </a:r>
            <a:endParaRPr lang="en-US" dirty="0"/>
          </a:p>
        </p:txBody>
      </p:sp>
      <p:pic>
        <p:nvPicPr>
          <p:cNvPr id="4098" name="Picture 2" descr="C:\Users\darraj\Desktop\3D-Man-Animated-Questions-Blue-original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00038" y="-233363"/>
            <a:ext cx="9744076" cy="73247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80604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Content="1"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pPr/>
              <a:t>26</a:t>
            </a:fld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2286000" y="2286000"/>
            <a:ext cx="4058885" cy="2585323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5400" b="1" cap="none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  <a:latin typeface="Algerian" panose="04020705040A02060702" pitchFamily="82" charset="0"/>
              </a:rPr>
              <a:t>Thank You For Listening… </a:t>
            </a:r>
            <a:endParaRPr lang="en-US" sz="5400" b="1" cap="none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  <a:latin typeface="Algerian" panose="04020705040A02060702" pitchFamily="82" charset="0"/>
            </a:endParaRPr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2466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4" presetClass="emph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animMotion origin="layout" path="M 0.0 0.0 L 0.0 -0.07213" pathEditMode="relative" ptsTypes="">
                                      <p:cBhvr>
                                        <p:cTn id="6" dur="250" accel="50000" decel="50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Rot by="1500000">
                                      <p:cBhvr>
                                        <p:cTn id="7" dur="125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1500000">
                                      <p:cBhvr>
                                        <p:cTn id="8" dur="125" fill="hold">
                                          <p:stCondLst>
                                            <p:cond delay="125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1500000">
                                      <p:cBhvr>
                                        <p:cTn id="9" dur="125" fill="hold">
                                          <p:stCondLst>
                                            <p:cond delay="25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500000">
                                      <p:cBhvr>
                                        <p:cTn id="10" dur="125" fill="hold">
                                          <p:stCondLst>
                                            <p:cond delay="375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b="1" dirty="0" smtClean="0">
                <a:latin typeface="Cambria" panose="02040503050406030204" pitchFamily="18" charset="0"/>
              </a:rPr>
              <a:t>OVERVIEW OF THE PROJECT</a:t>
            </a:r>
            <a:endParaRPr lang="en-US" sz="3600" b="1" dirty="0">
              <a:latin typeface="Cambria" panose="020405030504060302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1"/>
            <a:ext cx="8229600" cy="3657600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en-US" sz="2000" b="0" dirty="0">
                <a:solidFill>
                  <a:schemeClr val="tx1"/>
                </a:solidFill>
                <a:latin typeface="Cambria" panose="02040503050406030204" pitchFamily="18" charset="0"/>
              </a:rPr>
              <a:t>This project is aimed at test an online </a:t>
            </a:r>
            <a:r>
              <a:rPr lang="en-US" sz="2000" b="0" dirty="0" smtClean="0">
                <a:solidFill>
                  <a:schemeClr val="tx1"/>
                </a:solidFill>
                <a:latin typeface="Cambria" panose="02040503050406030204" pitchFamily="18" charset="0"/>
              </a:rPr>
              <a:t>Hotel Booking Management System (HBMS</a:t>
            </a:r>
            <a:r>
              <a:rPr lang="en-US" sz="2000" b="0" dirty="0">
                <a:solidFill>
                  <a:schemeClr val="tx1"/>
                </a:solidFill>
                <a:latin typeface="Cambria" panose="02040503050406030204" pitchFamily="18" charset="0"/>
              </a:rPr>
              <a:t>) for applicants. This is a web based application that can be accessed throughout the web. This system can be used to search a </a:t>
            </a:r>
            <a:r>
              <a:rPr lang="en-US" sz="2000" b="0" dirty="0" smtClean="0">
                <a:solidFill>
                  <a:schemeClr val="tx1"/>
                </a:solidFill>
                <a:latin typeface="Cambria" panose="02040503050406030204" pitchFamily="18" charset="0"/>
              </a:rPr>
              <a:t>Hotel Rooms </a:t>
            </a:r>
            <a:r>
              <a:rPr lang="en-US" sz="2000" b="0" dirty="0">
                <a:solidFill>
                  <a:schemeClr val="tx1"/>
                </a:solidFill>
                <a:latin typeface="Cambria" panose="02040503050406030204" pitchFamily="18" charset="0"/>
              </a:rPr>
              <a:t>for which an applicant wishes to </a:t>
            </a:r>
            <a:r>
              <a:rPr lang="en-US" sz="2000" b="0" dirty="0" smtClean="0">
                <a:solidFill>
                  <a:schemeClr val="tx1"/>
                </a:solidFill>
                <a:latin typeface="Cambria" panose="02040503050406030204" pitchFamily="18" charset="0"/>
              </a:rPr>
              <a:t>book rooms; Book </a:t>
            </a:r>
            <a:r>
              <a:rPr lang="en-US" sz="2000" b="0" dirty="0">
                <a:solidFill>
                  <a:schemeClr val="tx1"/>
                </a:solidFill>
                <a:latin typeface="Cambria" panose="02040503050406030204" pitchFamily="18" charset="0"/>
              </a:rPr>
              <a:t>online </a:t>
            </a:r>
            <a:r>
              <a:rPr lang="en-US" sz="2000" b="0" dirty="0" smtClean="0">
                <a:solidFill>
                  <a:schemeClr val="tx1"/>
                </a:solidFill>
                <a:latin typeface="Cambria" panose="02040503050406030204" pitchFamily="18" charset="0"/>
              </a:rPr>
              <a:t>rooms for </a:t>
            </a:r>
            <a:r>
              <a:rPr lang="en-US" sz="2000" b="0" dirty="0">
                <a:solidFill>
                  <a:schemeClr val="tx1"/>
                </a:solidFill>
                <a:latin typeface="Cambria" panose="02040503050406030204" pitchFamily="18" charset="0"/>
              </a:rPr>
              <a:t>a selected </a:t>
            </a:r>
            <a:r>
              <a:rPr lang="en-US" sz="2000" b="0" dirty="0" smtClean="0">
                <a:solidFill>
                  <a:schemeClr val="tx1"/>
                </a:solidFill>
                <a:latin typeface="Cambria" panose="02040503050406030204" pitchFamily="18" charset="0"/>
              </a:rPr>
              <a:t>Hotel by logging in </a:t>
            </a:r>
            <a:r>
              <a:rPr lang="en-US" sz="2000" b="0" dirty="0">
                <a:solidFill>
                  <a:schemeClr val="tx1"/>
                </a:solidFill>
                <a:latin typeface="Cambria" panose="02040503050406030204" pitchFamily="18" charset="0"/>
              </a:rPr>
              <a:t>and </a:t>
            </a:r>
            <a:r>
              <a:rPr lang="en-US" sz="2000" b="0" dirty="0" smtClean="0">
                <a:solidFill>
                  <a:schemeClr val="tx1"/>
                </a:solidFill>
                <a:latin typeface="Cambria" panose="02040503050406030204" pitchFamily="18" charset="0"/>
              </a:rPr>
              <a:t>search for hotel, </a:t>
            </a:r>
            <a:r>
              <a:rPr lang="en-US" sz="2000" b="0" dirty="0">
                <a:solidFill>
                  <a:schemeClr val="tx1"/>
                </a:solidFill>
                <a:latin typeface="Cambria" panose="02040503050406030204" pitchFamily="18" charset="0"/>
              </a:rPr>
              <a:t>administration staff can add/update/delete any </a:t>
            </a:r>
            <a:r>
              <a:rPr lang="en-US" sz="2000" b="0" dirty="0" smtClean="0">
                <a:solidFill>
                  <a:schemeClr val="tx1"/>
                </a:solidFill>
                <a:latin typeface="Cambria" panose="02040503050406030204" pitchFamily="18" charset="0"/>
              </a:rPr>
              <a:t>Hotel details. Guest users and Employees can book the room through online.</a:t>
            </a:r>
            <a:endParaRPr lang="en-US" sz="2000" b="0" dirty="0">
              <a:solidFill>
                <a:schemeClr val="tx1"/>
              </a:solidFill>
              <a:latin typeface="Cambria" panose="02040503050406030204" pitchFamily="18" charset="0"/>
            </a:endParaRPr>
          </a:p>
          <a:p>
            <a:pPr>
              <a:lnSpc>
                <a:spcPct val="150000"/>
              </a:lnSpc>
            </a:pPr>
            <a:endParaRPr lang="en-US" sz="2000" b="0" dirty="0" smtClean="0">
              <a:solidFill>
                <a:schemeClr val="tx1"/>
              </a:solidFill>
              <a:latin typeface="Cambria" panose="02040503050406030204" pitchFamily="18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7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2857500" y="6148969"/>
            <a:ext cx="2895600" cy="365125"/>
          </a:xfr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7467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8965"/>
            <a:ext cx="8229600" cy="792162"/>
          </a:xfrm>
        </p:spPr>
        <p:txBody>
          <a:bodyPr>
            <a:noAutofit/>
          </a:bodyPr>
          <a:lstStyle/>
          <a:p>
            <a:r>
              <a:rPr lang="en-US" sz="4000" b="1" dirty="0" smtClean="0">
                <a:latin typeface="Cambria" panose="02040503050406030204" pitchFamily="18" charset="0"/>
              </a:rPr>
              <a:t>        Actors</a:t>
            </a:r>
            <a:endParaRPr lang="en-US" sz="4000" b="1" dirty="0">
              <a:latin typeface="Cambria" panose="02040503050406030204" pitchFamily="18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3916117" y="1133390"/>
            <a:ext cx="2481770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300" dirty="0" smtClean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  <a:latin typeface="Bradley Hand ITC" panose="03070402050302030203" pitchFamily="66" charset="0"/>
              </a:rPr>
              <a:t>Admin</a:t>
            </a:r>
            <a:endParaRPr lang="en-US" sz="5400" b="1" cap="none" spc="300" dirty="0">
              <a:ln w="11430" cmpd="sng">
                <a:solidFill>
                  <a:schemeClr val="accent1">
                    <a:tint val="10000"/>
                  </a:schemeClr>
                </a:solidFill>
                <a:prstDash val="solid"/>
                <a:miter lim="800000"/>
              </a:ln>
              <a:gradFill>
                <a:gsLst>
                  <a:gs pos="10000">
                    <a:schemeClr val="accent1">
                      <a:tint val="83000"/>
                      <a:shade val="100000"/>
                      <a:satMod val="200000"/>
                    </a:schemeClr>
                  </a:gs>
                  <a:gs pos="75000">
                    <a:schemeClr val="accent1">
                      <a:tint val="100000"/>
                      <a:shade val="50000"/>
                      <a:satMod val="150000"/>
                    </a:schemeClr>
                  </a:gs>
                </a:gsLst>
                <a:lin ang="5400000"/>
              </a:gradFill>
              <a:effectLst>
                <a:glow rad="45500">
                  <a:schemeClr val="accent1">
                    <a:satMod val="220000"/>
                    <a:alpha val="35000"/>
                  </a:schemeClr>
                </a:glow>
              </a:effectLst>
              <a:latin typeface="Bradley Hand ITC" panose="03070402050302030203" pitchFamily="66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-393609" y="2909012"/>
            <a:ext cx="7472180" cy="92333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5400" b="1" spc="300" dirty="0" smtClean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  <a:latin typeface="Bradley Hand ITC" panose="03070402050302030203" pitchFamily="66" charset="0"/>
              </a:rPr>
              <a:t>Hotel Employee</a:t>
            </a:r>
            <a:endParaRPr lang="en-US" sz="5400" b="1" cap="none" spc="300" dirty="0">
              <a:ln w="11430" cmpd="sng">
                <a:solidFill>
                  <a:schemeClr val="accent1">
                    <a:tint val="10000"/>
                  </a:schemeClr>
                </a:solidFill>
                <a:prstDash val="solid"/>
                <a:miter lim="800000"/>
              </a:ln>
              <a:gradFill>
                <a:gsLst>
                  <a:gs pos="10000">
                    <a:schemeClr val="accent1">
                      <a:tint val="83000"/>
                      <a:shade val="100000"/>
                      <a:satMod val="200000"/>
                    </a:schemeClr>
                  </a:gs>
                  <a:gs pos="75000">
                    <a:schemeClr val="accent1">
                      <a:tint val="100000"/>
                      <a:shade val="50000"/>
                      <a:satMod val="150000"/>
                    </a:schemeClr>
                  </a:gs>
                </a:gsLst>
                <a:lin ang="5400000"/>
              </a:gradFill>
              <a:effectLst>
                <a:glow rad="45500">
                  <a:schemeClr val="accent1">
                    <a:satMod val="220000"/>
                    <a:alpha val="35000"/>
                  </a:schemeClr>
                </a:glow>
              </a:effectLst>
              <a:latin typeface="Bradley Hand ITC" panose="03070402050302030203" pitchFamily="66" charset="0"/>
            </a:endParaRPr>
          </a:p>
        </p:txBody>
      </p:sp>
      <p:pic>
        <p:nvPicPr>
          <p:cNvPr id="1026" name="Picture 2" descr="C:\Program Files\Microsoft Office\MEDIA\CAGCAT10\j0195384.wm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9899" y="985438"/>
            <a:ext cx="1565336" cy="15980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 descr="C:\Program Files\Microsoft Office\MEDIA\CAGCAT10\j0292020.wmf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3691" y="2220023"/>
            <a:ext cx="1766985" cy="16770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3" name="Picture 9" descr="C:\all varun\varun_102413_certificates\New folder\hotel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400" y="3832342"/>
            <a:ext cx="2590800" cy="27047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 15"/>
          <p:cNvSpPr/>
          <p:nvPr/>
        </p:nvSpPr>
        <p:spPr>
          <a:xfrm>
            <a:off x="3810000" y="4748594"/>
            <a:ext cx="3795768" cy="92333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5400" b="1" cap="none" spc="300" dirty="0" smtClean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  <a:latin typeface="Bradley Hand ITC" panose="03070402050302030203" pitchFamily="66" charset="0"/>
              </a:rPr>
              <a:t>Customer</a:t>
            </a:r>
            <a:endParaRPr lang="en-US" sz="5400" b="1" cap="none" spc="300" dirty="0">
              <a:ln w="11430" cmpd="sng">
                <a:solidFill>
                  <a:schemeClr val="accent1">
                    <a:tint val="10000"/>
                  </a:schemeClr>
                </a:solidFill>
                <a:prstDash val="solid"/>
                <a:miter lim="800000"/>
              </a:ln>
              <a:gradFill>
                <a:gsLst>
                  <a:gs pos="10000">
                    <a:schemeClr val="accent1">
                      <a:tint val="83000"/>
                      <a:shade val="100000"/>
                      <a:satMod val="200000"/>
                    </a:schemeClr>
                  </a:gs>
                  <a:gs pos="75000">
                    <a:schemeClr val="accent1">
                      <a:tint val="100000"/>
                      <a:shade val="50000"/>
                      <a:satMod val="150000"/>
                    </a:schemeClr>
                  </a:gs>
                </a:gsLst>
                <a:lin ang="5400000"/>
              </a:gradFill>
              <a:effectLst>
                <a:glow rad="45500">
                  <a:schemeClr val="accent1">
                    <a:satMod val="220000"/>
                    <a:alpha val="35000"/>
                  </a:schemeClr>
                </a:glow>
              </a:effectLst>
              <a:latin typeface="Bradley Hand ITC" panose="03070402050302030203" pitchFamily="66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404585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7" grpId="0"/>
      <p:bldP spid="16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5944" y="0"/>
            <a:ext cx="8229600" cy="1143000"/>
          </a:xfrm>
        </p:spPr>
        <p:txBody>
          <a:bodyPr>
            <a:noAutofit/>
          </a:bodyPr>
          <a:lstStyle/>
          <a:p>
            <a:pPr algn="ctr"/>
            <a:r>
              <a:rPr lang="en-US" dirty="0" smtClean="0">
                <a:solidFill>
                  <a:schemeClr val="tx1"/>
                </a:solidFill>
                <a:latin typeface="Candara Bold" pitchFamily="34" charset="0"/>
              </a:rPr>
              <a:t>FUNCTIONALITIES  </a:t>
            </a:r>
            <a:r>
              <a:rPr lang="en-US" dirty="0">
                <a:solidFill>
                  <a:schemeClr val="tx1"/>
                </a:solidFill>
                <a:latin typeface="Candara Bold" pitchFamily="34" charset="0"/>
              </a:rPr>
              <a:t>OF ADMIN</a:t>
            </a:r>
            <a:endParaRPr lang="en-US" dirty="0">
              <a:latin typeface="Candara Bold" pitchFamily="34" charset="0"/>
            </a:endParaRPr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1331707"/>
              </p:ext>
            </p:extLst>
          </p:nvPr>
        </p:nvGraphicFramePr>
        <p:xfrm>
          <a:off x="533400" y="990600"/>
          <a:ext cx="8610600" cy="553443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6538502" y="1435691"/>
            <a:ext cx="143691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 smtClean="0">
                <a:latin typeface="Candara" pitchFamily="34" charset="0"/>
                <a:cs typeface="Aharoni" pitchFamily="2" charset="-79"/>
              </a:rPr>
              <a:t>Hotel</a:t>
            </a:r>
            <a:endParaRPr lang="en-US" sz="2400" b="1" dirty="0">
              <a:latin typeface="Candara" pitchFamily="34" charset="0"/>
              <a:cs typeface="Aharoni" pitchFamily="2" charset="-79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221735" y="2613118"/>
            <a:ext cx="240161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 smtClean="0">
                <a:latin typeface="Candara" pitchFamily="34" charset="0"/>
                <a:cs typeface="Aharoni" pitchFamily="2" charset="-79"/>
              </a:rPr>
              <a:t>Hotel with Flight</a:t>
            </a:r>
            <a:endParaRPr lang="en-US" b="1" dirty="0">
              <a:latin typeface="Candara" pitchFamily="34" charset="0"/>
              <a:cs typeface="Aharoni" pitchFamily="2" charset="-79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866509" y="4688285"/>
            <a:ext cx="9060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 smtClean="0">
                <a:latin typeface="Candara" pitchFamily="34" charset="0"/>
                <a:cs typeface="Aharoni" pitchFamily="2" charset="-79"/>
              </a:rPr>
              <a:t>Hote</a:t>
            </a:r>
            <a:r>
              <a:rPr lang="en-US" sz="2400" b="1" dirty="0">
                <a:latin typeface="Candara" pitchFamily="34" charset="0"/>
                <a:cs typeface="Aharoni" pitchFamily="2" charset="-79"/>
              </a:rPr>
              <a:t>l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866509" y="5835239"/>
            <a:ext cx="9060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 smtClean="0">
                <a:latin typeface="Candara" pitchFamily="34" charset="0"/>
                <a:cs typeface="Aharoni" pitchFamily="2" charset="-79"/>
              </a:rPr>
              <a:t>Hotel</a:t>
            </a:r>
            <a:endParaRPr lang="en-US" b="1" dirty="0">
              <a:latin typeface="Candara" pitchFamily="34" charset="0"/>
              <a:cs typeface="Aharoni" pitchFamily="2" charset="-79"/>
            </a:endParaRPr>
          </a:p>
        </p:txBody>
      </p:sp>
      <p:pic>
        <p:nvPicPr>
          <p:cNvPr id="11" name="Picture 2" descr="C:\Users\bsallapu\Downloads\capgemini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2234" y="6192078"/>
            <a:ext cx="2301766" cy="665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6469674" y="3597062"/>
            <a:ext cx="218202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/>
              <a:t>Hotel With Cab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3460280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49829" y="275771"/>
            <a:ext cx="6429829" cy="696686"/>
          </a:xfrm>
        </p:spPr>
        <p:txBody>
          <a:bodyPr>
            <a:noAutofit/>
          </a:bodyPr>
          <a:lstStyle/>
          <a:p>
            <a:pPr algn="ctr"/>
            <a:r>
              <a:rPr lang="en-US" dirty="0" smtClean="0">
                <a:solidFill>
                  <a:schemeClr val="tx1"/>
                </a:solidFill>
                <a:latin typeface="Candara Bold" pitchFamily="34" charset="0"/>
              </a:rPr>
              <a:t>FUNCTIONALITIES</a:t>
            </a:r>
            <a:r>
              <a:rPr lang="en-US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ndara Bold" pitchFamily="34" charset="0"/>
              </a:rPr>
              <a:t>   </a:t>
            </a:r>
            <a:r>
              <a:rPr lang="en-US" dirty="0" smtClean="0">
                <a:solidFill>
                  <a:schemeClr val="tx1"/>
                </a:solidFill>
                <a:latin typeface="Candara Bold" pitchFamily="34" charset="0"/>
              </a:rPr>
              <a:t>OF</a:t>
            </a:r>
            <a:r>
              <a:rPr lang="en-US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ndara Bold" pitchFamily="34" charset="0"/>
              </a:rPr>
              <a:t> </a:t>
            </a:r>
            <a:r>
              <a:rPr lang="en-US" dirty="0" smtClean="0">
                <a:solidFill>
                  <a:schemeClr val="tx1"/>
                </a:solidFill>
                <a:latin typeface="Candara Bold" pitchFamily="34" charset="0"/>
              </a:rPr>
              <a:t>EMPLOYEE</a:t>
            </a:r>
            <a:endParaRPr lang="en-US" dirty="0">
              <a:solidFill>
                <a:schemeClr val="tx1"/>
              </a:solidFill>
              <a:latin typeface="Candara Bold" pitchFamily="34" charset="0"/>
            </a:endParaRPr>
          </a:p>
        </p:txBody>
      </p:sp>
      <p:pic>
        <p:nvPicPr>
          <p:cNvPr id="5" name="Picture 2" descr="C:\Users\bsallapu\Downloads\capgemini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2234" y="6192078"/>
            <a:ext cx="2301766" cy="665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71562218"/>
              </p:ext>
            </p:extLst>
          </p:nvPr>
        </p:nvGraphicFramePr>
        <p:xfrm>
          <a:off x="778782" y="1274310"/>
          <a:ext cx="7521575" cy="35798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517949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6114" y="0"/>
            <a:ext cx="8229600" cy="1143000"/>
          </a:xfrm>
        </p:spPr>
        <p:txBody>
          <a:bodyPr>
            <a:noAutofit/>
          </a:bodyPr>
          <a:lstStyle/>
          <a:p>
            <a:pPr algn="ctr"/>
            <a:r>
              <a:rPr lang="en-US" dirty="0">
                <a:solidFill>
                  <a:schemeClr val="tx1"/>
                </a:solidFill>
                <a:latin typeface="Candara Bold" pitchFamily="34" charset="0"/>
              </a:rPr>
              <a:t>FUNCTIONALITIES </a:t>
            </a:r>
            <a:r>
              <a:rPr lang="en-US" dirty="0" smtClean="0">
                <a:solidFill>
                  <a:schemeClr val="tx1"/>
                </a:solidFill>
                <a:latin typeface="Candara Bold" pitchFamily="34" charset="0"/>
              </a:rPr>
              <a:t>  OF CUSTOMER</a:t>
            </a:r>
            <a:endParaRPr lang="en-US" dirty="0">
              <a:solidFill>
                <a:schemeClr val="tx1"/>
              </a:solidFill>
            </a:endParaRPr>
          </a:p>
        </p:txBody>
      </p:sp>
      <p:graphicFrame>
        <p:nvGraphicFramePr>
          <p:cNvPr id="8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667306215"/>
              </p:ext>
            </p:extLst>
          </p:nvPr>
        </p:nvGraphicFramePr>
        <p:xfrm>
          <a:off x="778782" y="1274310"/>
          <a:ext cx="7521575" cy="35798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4" name="Picture 2" descr="C:\Users\bsallapu\Downloads\capgemini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2234" y="6192078"/>
            <a:ext cx="2301766" cy="665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9890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100">
        <p14:switch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b="1" dirty="0" smtClean="0"/>
              <a:t>ADMINISTRATOR Workflow</a:t>
            </a:r>
            <a:endParaRPr lang="en-IN" b="1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126666034"/>
              </p:ext>
            </p:extLst>
          </p:nvPr>
        </p:nvGraphicFramePr>
        <p:xfrm>
          <a:off x="1371600" y="1295400"/>
          <a:ext cx="6858000" cy="4597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Oval 5"/>
          <p:cNvSpPr/>
          <p:nvPr/>
        </p:nvSpPr>
        <p:spPr>
          <a:xfrm>
            <a:off x="4191000" y="2971800"/>
            <a:ext cx="1219200" cy="1371600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latin typeface="Times New Roman" pitchFamily="18" charset="0"/>
                <a:ea typeface="Verdana" pitchFamily="34" charset="0"/>
                <a:cs typeface="Times New Roman" pitchFamily="18" charset="0"/>
              </a:rPr>
              <a:t>Admin</a:t>
            </a:r>
            <a:endParaRPr lang="en-US" b="1" dirty="0">
              <a:latin typeface="Times New Roman" pitchFamily="18" charset="0"/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09600" y="1219200"/>
            <a:ext cx="1676400" cy="762000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LOGIN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7086600" y="5538716"/>
            <a:ext cx="1676400" cy="762000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LOGOUT</a:t>
            </a:r>
            <a:endParaRPr lang="en-US" dirty="0"/>
          </a:p>
        </p:txBody>
      </p:sp>
      <p:cxnSp>
        <p:nvCxnSpPr>
          <p:cNvPr id="9" name="Straight Arrow Connector 8"/>
          <p:cNvCxnSpPr/>
          <p:nvPr/>
        </p:nvCxnSpPr>
        <p:spPr>
          <a:xfrm>
            <a:off x="2286000" y="1600200"/>
            <a:ext cx="2083548" cy="157246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5410200" y="3657600"/>
            <a:ext cx="2514600" cy="188111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flip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IN" b="1" dirty="0" smtClean="0"/>
              <a:t>User’s Workflow</a:t>
            </a:r>
            <a:endParaRPr lang="en-IN" b="1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3665605422"/>
              </p:ext>
            </p:extLst>
          </p:nvPr>
        </p:nvGraphicFramePr>
        <p:xfrm>
          <a:off x="1066800" y="1397000"/>
          <a:ext cx="7162800" cy="4241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Oval 6"/>
          <p:cNvSpPr/>
          <p:nvPr/>
        </p:nvSpPr>
        <p:spPr>
          <a:xfrm>
            <a:off x="3733800" y="990600"/>
            <a:ext cx="1905000" cy="1143000"/>
          </a:xfrm>
          <a:prstGeom prst="ellipse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LOGIN</a:t>
            </a:r>
            <a:endParaRPr lang="en-US" dirty="0"/>
          </a:p>
        </p:txBody>
      </p:sp>
      <p:sp>
        <p:nvSpPr>
          <p:cNvPr id="8" name="Oval 7"/>
          <p:cNvSpPr/>
          <p:nvPr/>
        </p:nvSpPr>
        <p:spPr>
          <a:xfrm>
            <a:off x="3733800" y="5105400"/>
            <a:ext cx="1905000" cy="1143000"/>
          </a:xfrm>
          <a:prstGeom prst="ellipse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LOGOUT</a:t>
            </a:r>
            <a:endParaRPr lang="en-US" dirty="0"/>
          </a:p>
        </p:txBody>
      </p:sp>
      <p:cxnSp>
        <p:nvCxnSpPr>
          <p:cNvPr id="9" name="Straight Arrow Connector 8"/>
          <p:cNvCxnSpPr/>
          <p:nvPr/>
        </p:nvCxnSpPr>
        <p:spPr>
          <a:xfrm>
            <a:off x="4686300" y="2133600"/>
            <a:ext cx="0" cy="68580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>
            <a:endCxn id="8" idx="0"/>
          </p:cNvCxnSpPr>
          <p:nvPr/>
        </p:nvCxnSpPr>
        <p:spPr>
          <a:xfrm>
            <a:off x="4686300" y="4267200"/>
            <a:ext cx="0" cy="83820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window dir="ver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Executive">
  <a:themeElements>
    <a:clrScheme name="Executive">
      <a:dk1>
        <a:sysClr val="windowText" lastClr="000000"/>
      </a:dk1>
      <a:lt1>
        <a:sysClr val="window" lastClr="FFFFFF"/>
      </a:lt1>
      <a:dk2>
        <a:srgbClr val="2F5897"/>
      </a:dk2>
      <a:lt2>
        <a:srgbClr val="E4E9EF"/>
      </a:lt2>
      <a:accent1>
        <a:srgbClr val="6076B4"/>
      </a:accent1>
      <a:accent2>
        <a:srgbClr val="9C5252"/>
      </a:accent2>
      <a:accent3>
        <a:srgbClr val="E68422"/>
      </a:accent3>
      <a:accent4>
        <a:srgbClr val="846648"/>
      </a:accent4>
      <a:accent5>
        <a:srgbClr val="63891F"/>
      </a:accent5>
      <a:accent6>
        <a:srgbClr val="758085"/>
      </a:accent6>
      <a:hlink>
        <a:srgbClr val="3399FF"/>
      </a:hlink>
      <a:folHlink>
        <a:srgbClr val="B2B2B2"/>
      </a:folHlink>
    </a:clrScheme>
    <a:fontScheme name="Executive">
      <a:majorFont>
        <a:latin typeface="Century Gothic"/>
        <a:ea typeface=""/>
        <a:cs typeface=""/>
        <a:font script="Jpan" typeface="HGｺﾞｼｯｸM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Palatino Linotype"/>
        <a:ea typeface=""/>
        <a:cs typeface=""/>
        <a:font script="Jpan" typeface="HGS明朝E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Executiv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0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50000">
              <a:schemeClr val="phClr">
                <a:tint val="80000"/>
                <a:satMod val="250000"/>
              </a:schemeClr>
            </a:gs>
            <a:gs pos="76000">
              <a:schemeClr val="phClr">
                <a:tint val="90000"/>
                <a:shade val="90000"/>
                <a:satMod val="200000"/>
              </a:schemeClr>
            </a:gs>
            <a:gs pos="92000">
              <a:schemeClr val="phClr">
                <a:tint val="90000"/>
                <a:shade val="70000"/>
                <a:satMod val="250000"/>
              </a:schemeClr>
            </a:gs>
          </a:gsLst>
          <a:path path="circle">
            <a:fillToRect l="50000" t="50000" r="50000" b="50000"/>
          </a:path>
        </a:gradFill>
        <a:blipFill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141</TotalTime>
  <Words>819</Words>
  <Application>Microsoft Office PowerPoint</Application>
  <PresentationFormat>On-screen Show (4:3)</PresentationFormat>
  <Paragraphs>263</Paragraphs>
  <Slides>26</Slides>
  <Notes>7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26</vt:i4>
      </vt:variant>
    </vt:vector>
  </HeadingPairs>
  <TitlesOfParts>
    <vt:vector size="28" baseType="lpstr">
      <vt:lpstr>Executive</vt:lpstr>
      <vt:lpstr>Office Theme</vt:lpstr>
      <vt:lpstr>PowerPoint Presentation</vt:lpstr>
      <vt:lpstr>TEAM MEMBERS</vt:lpstr>
      <vt:lpstr>OVERVIEW OF THE PROJECT</vt:lpstr>
      <vt:lpstr>        Actors</vt:lpstr>
      <vt:lpstr>FUNCTIONALITIES  OF ADMIN</vt:lpstr>
      <vt:lpstr>FUNCTIONALITIES   OF EMPLOYEE</vt:lpstr>
      <vt:lpstr>FUNCTIONALITIES   OF CUSTOMER</vt:lpstr>
      <vt:lpstr>ADMINISTRATOR Workflow</vt:lpstr>
      <vt:lpstr>User’s Workflow</vt:lpstr>
      <vt:lpstr>PowerPoint Presentation</vt:lpstr>
      <vt:lpstr>      TEST CASES</vt:lpstr>
      <vt:lpstr>Requirement Itemization</vt:lpstr>
      <vt:lpstr>PowerPoint Presentation</vt:lpstr>
      <vt:lpstr>REQUIREMENTS VALIDATION AND FUNCTIONAL DECOMPOSITION</vt:lpstr>
      <vt:lpstr>     Use Case </vt:lpstr>
      <vt:lpstr>USE CASES</vt:lpstr>
      <vt:lpstr>   Defect Report</vt:lpstr>
      <vt:lpstr> DEFECT FREE DEFECT REPORT </vt:lpstr>
      <vt:lpstr>          OBSERVATION</vt:lpstr>
      <vt:lpstr>          OBSERVATION (contd..)</vt:lpstr>
      <vt:lpstr>Test Case Adequacy :</vt:lpstr>
      <vt:lpstr>     Test Case Effectiveness:</vt:lpstr>
      <vt:lpstr>       Traceabililty Matrix</vt:lpstr>
      <vt:lpstr>             CONCLUS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IVERSITY ADMISSION SYSTEM</dc:title>
  <dc:creator>Training LAB1</dc:creator>
  <cp:lastModifiedBy>R Savanur, Hrishikesh</cp:lastModifiedBy>
  <cp:revision>203</cp:revision>
  <dcterms:created xsi:type="dcterms:W3CDTF">2015-08-27T08:52:20Z</dcterms:created>
  <dcterms:modified xsi:type="dcterms:W3CDTF">2018-01-27T08:41:23Z</dcterms:modified>
</cp:coreProperties>
</file>